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7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8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9"/>
  </p:notesMasterIdLst>
  <p:sldIdLst>
    <p:sldId id="314" r:id="rId5"/>
    <p:sldId id="257" r:id="rId6"/>
    <p:sldId id="319" r:id="rId7"/>
    <p:sldId id="323" r:id="rId8"/>
    <p:sldId id="315" r:id="rId9"/>
    <p:sldId id="317" r:id="rId10"/>
    <p:sldId id="329" r:id="rId11"/>
    <p:sldId id="304" r:id="rId12"/>
    <p:sldId id="305" r:id="rId13"/>
    <p:sldId id="330" r:id="rId14"/>
    <p:sldId id="332" r:id="rId15"/>
    <p:sldId id="331" r:id="rId16"/>
    <p:sldId id="333" r:id="rId17"/>
    <p:sldId id="313" r:id="rId18"/>
  </p:sldIdLst>
  <p:sldSz cx="12192000" cy="6858000"/>
  <p:notesSz cx="6858000" cy="9144000"/>
  <p:custDataLst>
    <p:tags r:id="rId2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257"/>
            <p14:sldId id="319"/>
            <p14:sldId id="323"/>
            <p14:sldId id="315"/>
            <p14:sldId id="317"/>
            <p14:sldId id="329"/>
            <p14:sldId id="304"/>
            <p14:sldId id="305"/>
            <p14:sldId id="330"/>
            <p14:sldId id="332"/>
            <p14:sldId id="331"/>
            <p14:sldId id="333"/>
            <p14:sldId id="3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C3DB"/>
    <a:srgbClr val="F27CB1"/>
    <a:srgbClr val="EC008C"/>
    <a:srgbClr val="FDE9F2"/>
    <a:srgbClr val="F599C3"/>
    <a:srgbClr val="FACEE2"/>
    <a:srgbClr val="FFD55D"/>
    <a:srgbClr val="54C6EE"/>
    <a:srgbClr val="A9A9D5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99FEBC-2A76-4E02-B95E-087879461975}" v="4166" dt="2022-03-21T18:54:24.8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F999FEBC-2A76-4E02-B95E-087879461975}"/>
    <pc:docChg chg="undo custSel addSld delSld modSld sldOrd modSection">
      <pc:chgData name="Helena Laasjärvi" userId="147922e0-9e4e-413c-924b-93f8f61c2127" providerId="ADAL" clId="{F999FEBC-2A76-4E02-B95E-087879461975}" dt="2022-03-21T18:54:18.778" v="956"/>
      <pc:docMkLst>
        <pc:docMk/>
      </pc:docMkLst>
      <pc:sldChg chg="addSp delSp modSp mod ord">
        <pc:chgData name="Helena Laasjärvi" userId="147922e0-9e4e-413c-924b-93f8f61c2127" providerId="ADAL" clId="{F999FEBC-2A76-4E02-B95E-087879461975}" dt="2022-03-21T18:28:41.161" v="496" actId="1076"/>
        <pc:sldMkLst>
          <pc:docMk/>
          <pc:sldMk cId="48784172" sldId="257"/>
        </pc:sldMkLst>
        <pc:spChg chg="mod ord">
          <ac:chgData name="Helena Laasjärvi" userId="147922e0-9e4e-413c-924b-93f8f61c2127" providerId="ADAL" clId="{F999FEBC-2A76-4E02-B95E-087879461975}" dt="2022-03-21T18:28:41.161" v="496" actId="1076"/>
          <ac:spMkLst>
            <pc:docMk/>
            <pc:sldMk cId="48784172" sldId="257"/>
            <ac:spMk id="3" creationId="{F11D86D1-2E03-42E9-A372-AD660C7DB75E}"/>
          </ac:spMkLst>
        </pc:spChg>
        <pc:spChg chg="add mod ord">
          <ac:chgData name="Helena Laasjärvi" userId="147922e0-9e4e-413c-924b-93f8f61c2127" providerId="ADAL" clId="{F999FEBC-2A76-4E02-B95E-087879461975}" dt="2022-03-21T18:23:27.269" v="407" actId="208"/>
          <ac:spMkLst>
            <pc:docMk/>
            <pc:sldMk cId="48784172" sldId="257"/>
            <ac:spMk id="6" creationId="{5BE5E135-8E53-44F1-8BD0-8A2FC4BBD8AE}"/>
          </ac:spMkLst>
        </pc:spChg>
        <pc:spChg chg="add mod">
          <ac:chgData name="Helena Laasjärvi" userId="147922e0-9e4e-413c-924b-93f8f61c2127" providerId="ADAL" clId="{F999FEBC-2A76-4E02-B95E-087879461975}" dt="2022-03-21T18:18:55.604" v="347"/>
          <ac:spMkLst>
            <pc:docMk/>
            <pc:sldMk cId="48784172" sldId="257"/>
            <ac:spMk id="10" creationId="{9A408418-8F38-4B35-8BD1-2C9F1C605730}"/>
          </ac:spMkLst>
        </pc:spChg>
        <pc:spChg chg="add mod">
          <ac:chgData name="Helena Laasjärvi" userId="147922e0-9e4e-413c-924b-93f8f61c2127" providerId="ADAL" clId="{F999FEBC-2A76-4E02-B95E-087879461975}" dt="2022-03-21T18:18:55.604" v="347"/>
          <ac:spMkLst>
            <pc:docMk/>
            <pc:sldMk cId="48784172" sldId="257"/>
            <ac:spMk id="11" creationId="{9E62B062-F3B0-4C49-A860-3A5EA668CF8C}"/>
          </ac:spMkLst>
        </pc:spChg>
        <pc:spChg chg="add mod">
          <ac:chgData name="Helena Laasjärvi" userId="147922e0-9e4e-413c-924b-93f8f61c2127" providerId="ADAL" clId="{F999FEBC-2A76-4E02-B95E-087879461975}" dt="2022-03-21T18:19:12.837" v="349"/>
          <ac:spMkLst>
            <pc:docMk/>
            <pc:sldMk cId="48784172" sldId="257"/>
            <ac:spMk id="13" creationId="{B42F2062-A174-4124-B4BC-C764A0FF0C7E}"/>
          </ac:spMkLst>
        </pc:spChg>
        <pc:spChg chg="add mod">
          <ac:chgData name="Helena Laasjärvi" userId="147922e0-9e4e-413c-924b-93f8f61c2127" providerId="ADAL" clId="{F999FEBC-2A76-4E02-B95E-087879461975}" dt="2022-03-21T18:19:12.837" v="349"/>
          <ac:spMkLst>
            <pc:docMk/>
            <pc:sldMk cId="48784172" sldId="257"/>
            <ac:spMk id="14" creationId="{ACD57AE6-8877-4E27-AAD6-A166CE54CF43}"/>
          </ac:spMkLst>
        </pc:spChg>
        <pc:spChg chg="add mod">
          <ac:chgData name="Helena Laasjärvi" userId="147922e0-9e4e-413c-924b-93f8f61c2127" providerId="ADAL" clId="{F999FEBC-2A76-4E02-B95E-087879461975}" dt="2022-03-21T18:23:45.744" v="410" actId="1076"/>
          <ac:spMkLst>
            <pc:docMk/>
            <pc:sldMk cId="48784172" sldId="257"/>
            <ac:spMk id="17" creationId="{C842FE9B-132E-4A32-841E-364A4EDEDC79}"/>
          </ac:spMkLst>
        </pc:spChg>
        <pc:grpChg chg="add mod">
          <ac:chgData name="Helena Laasjärvi" userId="147922e0-9e4e-413c-924b-93f8f61c2127" providerId="ADAL" clId="{F999FEBC-2A76-4E02-B95E-087879461975}" dt="2022-03-21T18:18:55.604" v="347"/>
          <ac:grpSpMkLst>
            <pc:docMk/>
            <pc:sldMk cId="48784172" sldId="257"/>
            <ac:grpSpMk id="9" creationId="{B6C69DA1-4CF9-4111-BD8D-FCE3A012546A}"/>
          </ac:grpSpMkLst>
        </pc:grpChg>
        <pc:grpChg chg="add mod">
          <ac:chgData name="Helena Laasjärvi" userId="147922e0-9e4e-413c-924b-93f8f61c2127" providerId="ADAL" clId="{F999FEBC-2A76-4E02-B95E-087879461975}" dt="2022-03-21T18:19:12.837" v="349"/>
          <ac:grpSpMkLst>
            <pc:docMk/>
            <pc:sldMk cId="48784172" sldId="257"/>
            <ac:grpSpMk id="12" creationId="{6184BC9D-CC47-449E-9451-425C99AA4FB3}"/>
          </ac:grpSpMkLst>
        </pc:grpChg>
        <pc:graphicFrameChg chg="add mod">
          <ac:chgData name="Helena Laasjärvi" userId="147922e0-9e4e-413c-924b-93f8f61c2127" providerId="ADAL" clId="{F999FEBC-2A76-4E02-B95E-087879461975}" dt="2022-03-21T18:23:12.917" v="389"/>
          <ac:graphicFrameMkLst>
            <pc:docMk/>
            <pc:sldMk cId="48784172" sldId="257"/>
            <ac:graphicFrameMk id="7" creationId="{9005C4AA-F34F-43F1-80F3-88CE320A7A97}"/>
          </ac:graphicFrameMkLst>
        </pc:graphicFrameChg>
        <pc:graphicFrameChg chg="del mod">
          <ac:chgData name="Helena Laasjärvi" userId="147922e0-9e4e-413c-924b-93f8f61c2127" providerId="ADAL" clId="{F999FEBC-2A76-4E02-B95E-087879461975}" dt="2022-03-21T18:16:44.790" v="319" actId="478"/>
          <ac:graphicFrameMkLst>
            <pc:docMk/>
            <pc:sldMk cId="48784172" sldId="257"/>
            <ac:graphicFrameMk id="8" creationId="{B936F7B1-E20A-3AF0-9D08-1FF576802789}"/>
          </ac:graphicFrameMkLst>
        </pc:graphicFrameChg>
        <pc:graphicFrameChg chg="add mod">
          <ac:chgData name="Helena Laasjärvi" userId="147922e0-9e4e-413c-924b-93f8f61c2127" providerId="ADAL" clId="{F999FEBC-2A76-4E02-B95E-087879461975}" dt="2022-03-21T18:24:11.163" v="412" actId="14100"/>
          <ac:graphicFrameMkLst>
            <pc:docMk/>
            <pc:sldMk cId="48784172" sldId="257"/>
            <ac:graphicFrameMk id="15" creationId="{210563BE-493C-44AB-81AA-6A9B61F6CA2A}"/>
          </ac:graphicFrameMkLst>
        </pc:graphicFrameChg>
        <pc:graphicFrameChg chg="add mod ord modVis">
          <ac:chgData name="Helena Laasjärvi" userId="147922e0-9e4e-413c-924b-93f8f61c2127" providerId="ADAL" clId="{F999FEBC-2A76-4E02-B95E-087879461975}" dt="2022-03-21T18:23:13.001" v="405"/>
          <ac:graphicFrameMkLst>
            <pc:docMk/>
            <pc:sldMk cId="48784172" sldId="257"/>
            <ac:graphicFrameMk id="16" creationId="{035D3DAC-5E7C-45AE-8051-9A9C9FC0B5B7}"/>
          </ac:graphicFrameMkLst>
        </pc:graphicFrameChg>
        <pc:picChg chg="add mod ord">
          <ac:chgData name="Helena Laasjärvi" userId="147922e0-9e4e-413c-924b-93f8f61c2127" providerId="ADAL" clId="{F999FEBC-2A76-4E02-B95E-087879461975}" dt="2022-03-21T18:23:32.574" v="408" actId="1076"/>
          <ac:picMkLst>
            <pc:docMk/>
            <pc:sldMk cId="48784172" sldId="257"/>
            <ac:picMk id="2" creationId="{35B374B6-0320-4287-AF0D-58E176047CC6}"/>
          </ac:picMkLst>
        </pc:picChg>
        <pc:picChg chg="mod ord">
          <ac:chgData name="Helena Laasjärvi" userId="147922e0-9e4e-413c-924b-93f8f61c2127" providerId="ADAL" clId="{F999FEBC-2A76-4E02-B95E-087879461975}" dt="2022-03-21T18:23:12.917" v="384"/>
          <ac:picMkLst>
            <pc:docMk/>
            <pc:sldMk cId="48784172" sldId="257"/>
            <ac:picMk id="4" creationId="{DFAA2138-5CF7-4889-ACC3-41F434DA99C7}"/>
          </ac:picMkLst>
        </pc:picChg>
        <pc:picChg chg="add mod ord">
          <ac:chgData name="Helena Laasjärvi" userId="147922e0-9e4e-413c-924b-93f8f61c2127" providerId="ADAL" clId="{F999FEBC-2A76-4E02-B95E-087879461975}" dt="2022-03-21T18:23:12.917" v="388"/>
          <ac:picMkLst>
            <pc:docMk/>
            <pc:sldMk cId="48784172" sldId="257"/>
            <ac:picMk id="5" creationId="{92FB962E-20E0-4F9C-AF63-7A4BAA191268}"/>
          </ac:picMkLst>
        </pc:picChg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715913612" sldId="288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752674889" sldId="289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F999FEBC-2A76-4E02-B95E-087879461975}" dt="2022-03-21T18:54:02.711" v="938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F999FEBC-2A76-4E02-B95E-087879461975}" dt="2022-03-21T18:53:59.611" v="937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F999FEBC-2A76-4E02-B95E-087879461975}" dt="2022-03-21T18:54:05.384" v="942" actId="47"/>
        <pc:sldMkLst>
          <pc:docMk/>
          <pc:sldMk cId="4103225806" sldId="303"/>
        </pc:sldMkLst>
      </pc:sldChg>
      <pc:sldChg chg="modSp mod ord">
        <pc:chgData name="Helena Laasjärvi" userId="147922e0-9e4e-413c-924b-93f8f61c2127" providerId="ADAL" clId="{F999FEBC-2A76-4E02-B95E-087879461975}" dt="2022-03-21T18:38:11.866" v="737"/>
        <pc:sldMkLst>
          <pc:docMk/>
          <pc:sldMk cId="2567248277" sldId="304"/>
        </pc:sldMkLst>
        <pc:spChg chg="mod">
          <ac:chgData name="Helena Laasjärvi" userId="147922e0-9e4e-413c-924b-93f8f61c2127" providerId="ADAL" clId="{F999FEBC-2A76-4E02-B95E-087879461975}" dt="2022-03-21T18:37:23.816" v="729"/>
          <ac:spMkLst>
            <pc:docMk/>
            <pc:sldMk cId="2567248277" sldId="304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F999FEBC-2A76-4E02-B95E-087879461975}" dt="2022-03-21T18:37:43.659" v="732" actId="207"/>
          <ac:graphicFrameMkLst>
            <pc:docMk/>
            <pc:sldMk cId="2567248277" sldId="304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999FEBC-2A76-4E02-B95E-087879461975}" dt="2022-03-21T18:37:59.921" v="735" actId="14100"/>
          <ac:picMkLst>
            <pc:docMk/>
            <pc:sldMk cId="2567248277" sldId="304"/>
            <ac:picMk id="6" creationId="{9D1B725A-9F7F-4A5F-A8A5-52289C013BBA}"/>
          </ac:picMkLst>
        </pc:picChg>
      </pc:sldChg>
      <pc:sldChg chg="delSp modSp mod ord">
        <pc:chgData name="Helena Laasjärvi" userId="147922e0-9e4e-413c-924b-93f8f61c2127" providerId="ADAL" clId="{F999FEBC-2A76-4E02-B95E-087879461975}" dt="2022-03-21T18:40:49.138" v="763" actId="1076"/>
        <pc:sldMkLst>
          <pc:docMk/>
          <pc:sldMk cId="4070654495" sldId="305"/>
        </pc:sldMkLst>
        <pc:spChg chg="del mod">
          <ac:chgData name="Helena Laasjärvi" userId="147922e0-9e4e-413c-924b-93f8f61c2127" providerId="ADAL" clId="{F999FEBC-2A76-4E02-B95E-087879461975}" dt="2022-03-21T18:40:40.784" v="762" actId="478"/>
          <ac:spMkLst>
            <pc:docMk/>
            <pc:sldMk cId="4070654495" sldId="305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F999FEBC-2A76-4E02-B95E-087879461975}" dt="2022-03-21T18:40:49.138" v="763" actId="1076"/>
          <ac:graphicFrameMkLst>
            <pc:docMk/>
            <pc:sldMk cId="4070654495" sldId="305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999FEBC-2A76-4E02-B95E-087879461975}" dt="2022-03-21T18:40:09.083" v="758" actId="14100"/>
          <ac:picMkLst>
            <pc:docMk/>
            <pc:sldMk cId="4070654495" sldId="305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F999FEBC-2A76-4E02-B95E-087879461975}" dt="2022-03-21T18:54:04.933" v="941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F999FEBC-2A76-4E02-B95E-087879461975}" dt="2022-03-21T18:54:04.494" v="940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F999FEBC-2A76-4E02-B95E-087879461975}" dt="2022-03-21T18:54:03.692" v="939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F999FEBC-2A76-4E02-B95E-087879461975}" dt="2022-03-21T18:54:11.506" v="952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F999FEBC-2A76-4E02-B95E-087879461975}" dt="2022-03-21T18:53:47.959" v="936" actId="47"/>
        <pc:sldMkLst>
          <pc:docMk/>
          <pc:sldMk cId="2657336914" sldId="312"/>
        </pc:sldMkLst>
      </pc:sldChg>
      <pc:sldChg chg="addSp delSp modSp add del mod ord">
        <pc:chgData name="Helena Laasjärvi" userId="147922e0-9e4e-413c-924b-93f8f61c2127" providerId="ADAL" clId="{F999FEBC-2A76-4E02-B95E-087879461975}" dt="2022-03-21T18:54:18.778" v="956"/>
        <pc:sldMkLst>
          <pc:docMk/>
          <pc:sldMk cId="588515560" sldId="313"/>
        </pc:sldMkLst>
        <pc:graphicFrameChg chg="mod">
          <ac:chgData name="Helena Laasjärvi" userId="147922e0-9e4e-413c-924b-93f8f61c2127" providerId="ADAL" clId="{F999FEBC-2A76-4E02-B95E-087879461975}" dt="2022-03-21T18:54:18.778" v="956"/>
          <ac:graphicFrameMkLst>
            <pc:docMk/>
            <pc:sldMk cId="588515560" sldId="313"/>
            <ac:graphicFrameMk id="10" creationId="{C0C92CC4-9821-445B-8FC1-C7630CDC1D48}"/>
          </ac:graphicFrameMkLst>
        </pc:graphicFrameChg>
        <pc:picChg chg="add mod">
          <ac:chgData name="Helena Laasjärvi" userId="147922e0-9e4e-413c-924b-93f8f61c2127" providerId="ADAL" clId="{F999FEBC-2A76-4E02-B95E-087879461975}" dt="2022-03-21T18:51:30.748" v="927" actId="1076"/>
          <ac:picMkLst>
            <pc:docMk/>
            <pc:sldMk cId="588515560" sldId="313"/>
            <ac:picMk id="4" creationId="{DCE70FE3-38AB-478E-BFA9-690D7662901A}"/>
          </ac:picMkLst>
        </pc:picChg>
        <pc:picChg chg="add mod modCrop">
          <ac:chgData name="Helena Laasjärvi" userId="147922e0-9e4e-413c-924b-93f8f61c2127" providerId="ADAL" clId="{F999FEBC-2A76-4E02-B95E-087879461975}" dt="2022-03-21T18:52:13.521" v="931" actId="732"/>
          <ac:picMkLst>
            <pc:docMk/>
            <pc:sldMk cId="588515560" sldId="313"/>
            <ac:picMk id="6" creationId="{0198D3F2-5E1F-4B6B-8595-959A64EC3772}"/>
          </ac:picMkLst>
        </pc:picChg>
        <pc:picChg chg="add mod modCrop">
          <ac:chgData name="Helena Laasjärvi" userId="147922e0-9e4e-413c-924b-93f8f61c2127" providerId="ADAL" clId="{F999FEBC-2A76-4E02-B95E-087879461975}" dt="2022-03-21T18:52:30.686" v="935" actId="1076"/>
          <ac:picMkLst>
            <pc:docMk/>
            <pc:sldMk cId="588515560" sldId="313"/>
            <ac:picMk id="8" creationId="{E9614EB4-DBB3-43C9-92A9-53743184788B}"/>
          </ac:picMkLst>
        </pc:picChg>
        <pc:picChg chg="del mod modCrop">
          <ac:chgData name="Helena Laasjärvi" userId="147922e0-9e4e-413c-924b-93f8f61c2127" providerId="ADAL" clId="{F999FEBC-2A76-4E02-B95E-087879461975}" dt="2022-03-21T18:51:26.460" v="924" actId="478"/>
          <ac:picMkLst>
            <pc:docMk/>
            <pc:sldMk cId="588515560" sldId="313"/>
            <ac:picMk id="26" creationId="{328AC4BB-AECD-47FE-B305-B95D452F1AE0}"/>
          </ac:picMkLst>
        </pc:picChg>
      </pc:sldChg>
      <pc:sldChg chg="addSp delSp modSp mod ord">
        <pc:chgData name="Helena Laasjärvi" userId="147922e0-9e4e-413c-924b-93f8f61c2127" providerId="ADAL" clId="{F999FEBC-2A76-4E02-B95E-087879461975}" dt="2022-03-21T18:28:32.257" v="494"/>
        <pc:sldMkLst>
          <pc:docMk/>
          <pc:sldMk cId="181922694" sldId="314"/>
        </pc:sldMkLst>
        <pc:spChg chg="mod">
          <ac:chgData name="Helena Laasjärvi" userId="147922e0-9e4e-413c-924b-93f8f61c2127" providerId="ADAL" clId="{F999FEBC-2A76-4E02-B95E-087879461975}" dt="2022-03-21T18:28:32.249" v="492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999FEBC-2A76-4E02-B95E-087879461975}" dt="2022-03-21T18:08:36.133" v="68"/>
          <ac:spMkLst>
            <pc:docMk/>
            <pc:sldMk cId="181922694" sldId="314"/>
            <ac:spMk id="23" creationId="{FA5A8702-A764-4E1C-8C70-EBA7E293B8D3}"/>
          </ac:spMkLst>
        </pc:spChg>
        <pc:spChg chg="add del mod modVis">
          <ac:chgData name="Helena Laasjärvi" userId="147922e0-9e4e-413c-924b-93f8f61c2127" providerId="ADAL" clId="{F999FEBC-2A76-4E02-B95E-087879461975}" dt="2022-03-21T18:08:38.656" v="124"/>
          <ac:spMkLst>
            <pc:docMk/>
            <pc:sldMk cId="181922694" sldId="314"/>
            <ac:spMk id="24" creationId="{D6246486-67F1-4DBD-9A15-264C6C18942B}"/>
          </ac:spMkLst>
        </pc:spChg>
        <pc:spChg chg="add del mod modVis">
          <ac:chgData name="Helena Laasjärvi" userId="147922e0-9e4e-413c-924b-93f8f61c2127" providerId="ADAL" clId="{F999FEBC-2A76-4E02-B95E-087879461975}" dt="2022-03-21T18:08:39.928" v="170"/>
          <ac:spMkLst>
            <pc:docMk/>
            <pc:sldMk cId="181922694" sldId="314"/>
            <ac:spMk id="25" creationId="{86FDB4CA-389E-46B5-86CE-9126D41B5E89}"/>
          </ac:spMkLst>
        </pc:spChg>
        <pc:spChg chg="add del mod modVis">
          <ac:chgData name="Helena Laasjärvi" userId="147922e0-9e4e-413c-924b-93f8f61c2127" providerId="ADAL" clId="{F999FEBC-2A76-4E02-B95E-087879461975}" dt="2022-03-21T18:08:43.756" v="214"/>
          <ac:spMkLst>
            <pc:docMk/>
            <pc:sldMk cId="181922694" sldId="314"/>
            <ac:spMk id="26" creationId="{31A9F394-393C-4AB9-B72A-F2779E67576A}"/>
          </ac:spMkLst>
        </pc:spChg>
        <pc:spChg chg="add del mod modVis">
          <ac:chgData name="Helena Laasjärvi" userId="147922e0-9e4e-413c-924b-93f8f61c2127" providerId="ADAL" clId="{F999FEBC-2A76-4E02-B95E-087879461975}" dt="2022-03-21T18:08:49.395" v="257"/>
          <ac:spMkLst>
            <pc:docMk/>
            <pc:sldMk cId="181922694" sldId="314"/>
            <ac:spMk id="27" creationId="{BF4EE734-E85E-4B13-BA30-6E220C102AD8}"/>
          </ac:spMkLst>
        </pc:spChg>
        <pc:graphicFrameChg chg="mod">
          <ac:chgData name="Helena Laasjärvi" userId="147922e0-9e4e-413c-924b-93f8f61c2127" providerId="ADAL" clId="{F999FEBC-2A76-4E02-B95E-087879461975}" dt="2022-03-21T18:28:32.257" v="494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999FEBC-2A76-4E02-B95E-087879461975}" dt="2022-03-21T18:09:36.596" v="265" actId="1076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delSp modSp mod">
        <pc:chgData name="Helena Laasjärvi" userId="147922e0-9e4e-413c-924b-93f8f61c2127" providerId="ADAL" clId="{F999FEBC-2A76-4E02-B95E-087879461975}" dt="2022-03-21T18:30:17.694" v="510" actId="20577"/>
        <pc:sldMkLst>
          <pc:docMk/>
          <pc:sldMk cId="724025729" sldId="315"/>
        </pc:sldMkLst>
        <pc:spChg chg="del">
          <ac:chgData name="Helena Laasjärvi" userId="147922e0-9e4e-413c-924b-93f8f61c2127" providerId="ADAL" clId="{F999FEBC-2A76-4E02-B95E-087879461975}" dt="2022-03-21T18:29:36.560" v="501" actId="478"/>
          <ac:spMkLst>
            <pc:docMk/>
            <pc:sldMk cId="724025729" sldId="315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F999FEBC-2A76-4E02-B95E-087879461975}" dt="2022-03-21T18:30:17.694" v="510" actId="20577"/>
          <ac:graphicFrameMkLst>
            <pc:docMk/>
            <pc:sldMk cId="724025729" sldId="315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999FEBC-2A76-4E02-B95E-087879461975}" dt="2022-03-21T18:29:52.419" v="504" actId="14100"/>
          <ac:picMkLst>
            <pc:docMk/>
            <pc:sldMk cId="724025729" sldId="315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F999FEBC-2A76-4E02-B95E-087879461975}" dt="2022-03-21T18:54:06.993" v="944" actId="47"/>
        <pc:sldMkLst>
          <pc:docMk/>
          <pc:sldMk cId="3149145955" sldId="316"/>
        </pc:sldMkLst>
      </pc:sldChg>
      <pc:sldChg chg="addSp delSp modSp mod ord">
        <pc:chgData name="Helena Laasjärvi" userId="147922e0-9e4e-413c-924b-93f8f61c2127" providerId="ADAL" clId="{F999FEBC-2A76-4E02-B95E-087879461975}" dt="2022-03-21T18:35:26.935" v="619"/>
        <pc:sldMkLst>
          <pc:docMk/>
          <pc:sldMk cId="863750448" sldId="317"/>
        </pc:sldMkLst>
        <pc:spChg chg="mod">
          <ac:chgData name="Helena Laasjärvi" userId="147922e0-9e4e-413c-924b-93f8f61c2127" providerId="ADAL" clId="{F999FEBC-2A76-4E02-B95E-087879461975}" dt="2022-03-21T18:35:26.850" v="578" actId="948"/>
          <ac:spMkLst>
            <pc:docMk/>
            <pc:sldMk cId="863750448" sldId="317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999FEBC-2A76-4E02-B95E-087879461975}" dt="2022-03-21T18:31:37.322" v="553"/>
          <ac:spMkLst>
            <pc:docMk/>
            <pc:sldMk cId="863750448" sldId="317"/>
            <ac:spMk id="9" creationId="{B04BBDDF-7656-46B0-A61B-91EEBB0D52DD}"/>
          </ac:spMkLst>
        </pc:spChg>
        <pc:spChg chg="add del mod modVis">
          <ac:chgData name="Helena Laasjärvi" userId="147922e0-9e4e-413c-924b-93f8f61c2127" providerId="ADAL" clId="{F999FEBC-2A76-4E02-B95E-087879461975}" dt="2022-03-21T18:35:26.920" v="617"/>
          <ac:spMkLst>
            <pc:docMk/>
            <pc:sldMk cId="863750448" sldId="317"/>
            <ac:spMk id="10" creationId="{A72E92E8-BE84-40EE-A89F-E9D275417C6F}"/>
          </ac:spMkLst>
        </pc:spChg>
        <pc:graphicFrameChg chg="mod">
          <ac:chgData name="Helena Laasjärvi" userId="147922e0-9e4e-413c-924b-93f8f61c2127" providerId="ADAL" clId="{F999FEBC-2A76-4E02-B95E-087879461975}" dt="2022-03-21T18:35:26.935" v="619"/>
          <ac:graphicFrameMkLst>
            <pc:docMk/>
            <pc:sldMk cId="863750448" sldId="317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999FEBC-2A76-4E02-B95E-087879461975}" dt="2022-03-21T18:35:04.779" v="575" actId="13782"/>
          <ac:graphicFrameMkLst>
            <pc:docMk/>
            <pc:sldMk cId="863750448" sldId="317"/>
            <ac:graphicFrameMk id="8" creationId="{311B8604-8FEE-42BB-AF19-CDBE2DDB3F11}"/>
          </ac:graphicFrameMkLst>
        </pc:graphicFrameChg>
      </pc:sldChg>
      <pc:sldChg chg="addSp modSp mod ord">
        <pc:chgData name="Helena Laasjärvi" userId="147922e0-9e4e-413c-924b-93f8f61c2127" providerId="ADAL" clId="{F999FEBC-2A76-4E02-B95E-087879461975}" dt="2022-03-21T18:26:22.077" v="430" actId="14100"/>
        <pc:sldMkLst>
          <pc:docMk/>
          <pc:sldMk cId="1594535289" sldId="319"/>
        </pc:sldMkLst>
        <pc:spChg chg="mod">
          <ac:chgData name="Helena Laasjärvi" userId="147922e0-9e4e-413c-924b-93f8f61c2127" providerId="ADAL" clId="{F999FEBC-2A76-4E02-B95E-087879461975}" dt="2022-03-21T18:24:38.520" v="417"/>
          <ac:spMkLst>
            <pc:docMk/>
            <pc:sldMk cId="1594535289" sldId="319"/>
            <ac:spMk id="10" creationId="{0AA9639B-B7E2-44C5-9CA4-50187E024E5F}"/>
          </ac:spMkLst>
        </pc:spChg>
        <pc:graphicFrameChg chg="add mod">
          <ac:chgData name="Helena Laasjärvi" userId="147922e0-9e4e-413c-924b-93f8f61c2127" providerId="ADAL" clId="{F999FEBC-2A76-4E02-B95E-087879461975}" dt="2022-03-21T18:26:14.447" v="429" actId="1076"/>
          <ac:graphicFrameMkLst>
            <pc:docMk/>
            <pc:sldMk cId="1594535289" sldId="319"/>
            <ac:graphicFrameMk id="7" creationId="{FBA9E111-FC23-4667-85BD-9FA08CEB83D6}"/>
          </ac:graphicFrameMkLst>
        </pc:graphicFrameChg>
        <pc:picChg chg="mod">
          <ac:chgData name="Helena Laasjärvi" userId="147922e0-9e4e-413c-924b-93f8f61c2127" providerId="ADAL" clId="{F999FEBC-2A76-4E02-B95E-087879461975}" dt="2022-03-21T18:26:22.077" v="430" actId="14100"/>
          <ac:picMkLst>
            <pc:docMk/>
            <pc:sldMk cId="1594535289" sldId="319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F999FEBC-2A76-4E02-B95E-087879461975}" dt="2022-03-21T18:54:07.580" v="945" actId="47"/>
        <pc:sldMkLst>
          <pc:docMk/>
          <pc:sldMk cId="2851854799" sldId="320"/>
        </pc:sldMkLst>
      </pc:sldChg>
      <pc:sldChg chg="del">
        <pc:chgData name="Helena Laasjärvi" userId="147922e0-9e4e-413c-924b-93f8f61c2127" providerId="ADAL" clId="{F999FEBC-2A76-4E02-B95E-087879461975}" dt="2022-03-21T18:54:05.868" v="943" actId="47"/>
        <pc:sldMkLst>
          <pc:docMk/>
          <pc:sldMk cId="31896352" sldId="321"/>
        </pc:sldMkLst>
      </pc:sldChg>
      <pc:sldChg chg="del">
        <pc:chgData name="Helena Laasjärvi" userId="147922e0-9e4e-413c-924b-93f8f61c2127" providerId="ADAL" clId="{F999FEBC-2A76-4E02-B95E-087879461975}" dt="2022-03-21T18:54:09.184" v="947" actId="47"/>
        <pc:sldMkLst>
          <pc:docMk/>
          <pc:sldMk cId="34063811" sldId="322"/>
        </pc:sldMkLst>
      </pc:sldChg>
      <pc:sldChg chg="addSp delSp modSp mod ord">
        <pc:chgData name="Helena Laasjärvi" userId="147922e0-9e4e-413c-924b-93f8f61c2127" providerId="ADAL" clId="{F999FEBC-2A76-4E02-B95E-087879461975}" dt="2022-03-21T18:28:50.304" v="497" actId="1076"/>
        <pc:sldMkLst>
          <pc:docMk/>
          <pc:sldMk cId="2302383710" sldId="323"/>
        </pc:sldMkLst>
        <pc:spChg chg="mod">
          <ac:chgData name="Helena Laasjärvi" userId="147922e0-9e4e-413c-924b-93f8f61c2127" providerId="ADAL" clId="{F999FEBC-2A76-4E02-B95E-087879461975}" dt="2022-03-21T18:28:27.209" v="488" actId="948"/>
          <ac:spMkLst>
            <pc:docMk/>
            <pc:sldMk cId="2302383710" sldId="323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999FEBC-2A76-4E02-B95E-087879461975}" dt="2022-03-21T18:26:57.831" v="473"/>
          <ac:spMkLst>
            <pc:docMk/>
            <pc:sldMk cId="2302383710" sldId="323"/>
            <ac:spMk id="12" creationId="{BA962308-B3A4-45A5-AC93-DCFEBEC0EE03}"/>
          </ac:spMkLst>
        </pc:spChg>
        <pc:graphicFrameChg chg="mod">
          <ac:chgData name="Helena Laasjärvi" userId="147922e0-9e4e-413c-924b-93f8f61c2127" providerId="ADAL" clId="{F999FEBC-2A76-4E02-B95E-087879461975}" dt="2022-03-21T18:28:27.209" v="490"/>
          <ac:graphicFrameMkLst>
            <pc:docMk/>
            <pc:sldMk cId="2302383710" sldId="32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999FEBC-2A76-4E02-B95E-087879461975}" dt="2022-03-21T18:28:50.304" v="497" actId="1076"/>
          <ac:graphicFrameMkLst>
            <pc:docMk/>
            <pc:sldMk cId="2302383710" sldId="323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F999FEBC-2A76-4E02-B95E-087879461975}" dt="2022-03-21T18:54:08.064" v="946" actId="47"/>
        <pc:sldMkLst>
          <pc:docMk/>
          <pc:sldMk cId="742727706" sldId="324"/>
        </pc:sldMkLst>
      </pc:sldChg>
      <pc:sldChg chg="del">
        <pc:chgData name="Helena Laasjärvi" userId="147922e0-9e4e-413c-924b-93f8f61c2127" providerId="ADAL" clId="{F999FEBC-2A76-4E02-B95E-087879461975}" dt="2022-03-21T18:54:10.202" v="949" actId="47"/>
        <pc:sldMkLst>
          <pc:docMk/>
          <pc:sldMk cId="2673673509" sldId="325"/>
        </pc:sldMkLst>
      </pc:sldChg>
      <pc:sldChg chg="del">
        <pc:chgData name="Helena Laasjärvi" userId="147922e0-9e4e-413c-924b-93f8f61c2127" providerId="ADAL" clId="{F999FEBC-2A76-4E02-B95E-087879461975}" dt="2022-03-21T18:54:09.747" v="948" actId="47"/>
        <pc:sldMkLst>
          <pc:docMk/>
          <pc:sldMk cId="450801208" sldId="326"/>
        </pc:sldMkLst>
      </pc:sldChg>
      <pc:sldChg chg="del">
        <pc:chgData name="Helena Laasjärvi" userId="147922e0-9e4e-413c-924b-93f8f61c2127" providerId="ADAL" clId="{F999FEBC-2A76-4E02-B95E-087879461975}" dt="2022-03-21T18:54:11.066" v="951" actId="47"/>
        <pc:sldMkLst>
          <pc:docMk/>
          <pc:sldMk cId="1955026970" sldId="327"/>
        </pc:sldMkLst>
      </pc:sldChg>
      <pc:sldChg chg="del">
        <pc:chgData name="Helena Laasjärvi" userId="147922e0-9e4e-413c-924b-93f8f61c2127" providerId="ADAL" clId="{F999FEBC-2A76-4E02-B95E-087879461975}" dt="2022-03-21T18:54:10.634" v="950" actId="47"/>
        <pc:sldMkLst>
          <pc:docMk/>
          <pc:sldMk cId="647569095" sldId="328"/>
        </pc:sldMkLst>
      </pc:sldChg>
      <pc:sldChg chg="addSp delSp modSp add mod ord">
        <pc:chgData name="Helena Laasjärvi" userId="147922e0-9e4e-413c-924b-93f8f61c2127" providerId="ADAL" clId="{F999FEBC-2A76-4E02-B95E-087879461975}" dt="2022-03-21T18:36:54.016" v="725" actId="20577"/>
        <pc:sldMkLst>
          <pc:docMk/>
          <pc:sldMk cId="2303161499" sldId="329"/>
        </pc:sldMkLst>
        <pc:spChg chg="mod">
          <ac:chgData name="Helena Laasjärvi" userId="147922e0-9e4e-413c-924b-93f8f61c2127" providerId="ADAL" clId="{F999FEBC-2A76-4E02-B95E-087879461975}" dt="2022-03-21T18:35:59.249" v="670" actId="948"/>
          <ac:spMkLst>
            <pc:docMk/>
            <pc:sldMk cId="2303161499" sldId="329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999FEBC-2A76-4E02-B95E-087879461975}" dt="2022-03-21T18:35:55.720" v="665"/>
          <ac:spMkLst>
            <pc:docMk/>
            <pc:sldMk cId="2303161499" sldId="329"/>
            <ac:spMk id="3" creationId="{04A84A11-A623-4F7F-9BD2-7708DAEDEA48}"/>
          </ac:spMkLst>
        </pc:spChg>
        <pc:spChg chg="add del mod modVis">
          <ac:chgData name="Helena Laasjärvi" userId="147922e0-9e4e-413c-924b-93f8f61c2127" providerId="ADAL" clId="{F999FEBC-2A76-4E02-B95E-087879461975}" dt="2022-03-21T18:35:59.336" v="709"/>
          <ac:spMkLst>
            <pc:docMk/>
            <pc:sldMk cId="2303161499" sldId="329"/>
            <ac:spMk id="5" creationId="{D11DE5AC-5782-4EB8-A020-695EDD3D90EF}"/>
          </ac:spMkLst>
        </pc:spChg>
        <pc:grpChg chg="mod">
          <ac:chgData name="Helena Laasjärvi" userId="147922e0-9e4e-413c-924b-93f8f61c2127" providerId="ADAL" clId="{F999FEBC-2A76-4E02-B95E-087879461975}" dt="2022-03-21T18:35:49.328" v="621"/>
          <ac:grpSpMkLst>
            <pc:docMk/>
            <pc:sldMk cId="2303161499" sldId="329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F999FEBC-2A76-4E02-B95E-087879461975}" dt="2022-03-21T18:35:59.336" v="711"/>
          <ac:graphicFrameMkLst>
            <pc:docMk/>
            <pc:sldMk cId="2303161499" sldId="329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999FEBC-2A76-4E02-B95E-087879461975}" dt="2022-03-21T18:36:54.016" v="725" actId="20577"/>
          <ac:graphicFrameMkLst>
            <pc:docMk/>
            <pc:sldMk cId="2303161499" sldId="329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F999FEBC-2A76-4E02-B95E-087879461975}" dt="2022-03-21T18:35:49.328" v="621"/>
          <ac:picMkLst>
            <pc:docMk/>
            <pc:sldMk cId="2303161499" sldId="329"/>
            <ac:picMk id="4" creationId="{CF47ABF3-D808-437C-99C9-B7CE14174BFD}"/>
          </ac:picMkLst>
        </pc:picChg>
      </pc:sldChg>
      <pc:sldChg chg="addSp delSp modSp add del mod">
        <pc:chgData name="Helena Laasjärvi" userId="147922e0-9e4e-413c-924b-93f8f61c2127" providerId="ADAL" clId="{F999FEBC-2A76-4E02-B95E-087879461975}" dt="2022-03-21T18:40:53.458" v="764" actId="2696"/>
        <pc:sldMkLst>
          <pc:docMk/>
          <pc:sldMk cId="1055708473" sldId="330"/>
        </pc:sldMkLst>
        <pc:spChg chg="del">
          <ac:chgData name="Helena Laasjärvi" userId="147922e0-9e4e-413c-924b-93f8f61c2127" providerId="ADAL" clId="{F999FEBC-2A76-4E02-B95E-087879461975}" dt="2022-03-21T18:38:49.863" v="743" actId="478"/>
          <ac:spMkLst>
            <pc:docMk/>
            <pc:sldMk cId="1055708473" sldId="330"/>
            <ac:spMk id="10" creationId="{0AA9639B-B7E2-44C5-9CA4-50187E024E5F}"/>
          </ac:spMkLst>
        </pc:spChg>
        <pc:spChg chg="add">
          <ac:chgData name="Helena Laasjärvi" userId="147922e0-9e4e-413c-924b-93f8f61c2127" providerId="ADAL" clId="{F999FEBC-2A76-4E02-B95E-087879461975}" dt="2022-03-21T18:39:20.816" v="747" actId="26606"/>
          <ac:spMkLst>
            <pc:docMk/>
            <pc:sldMk cId="1055708473" sldId="330"/>
            <ac:spMk id="13" creationId="{131BAD53-4E89-4F62-BBB7-26359763ED39}"/>
          </ac:spMkLst>
        </pc:spChg>
        <pc:spChg chg="add">
          <ac:chgData name="Helena Laasjärvi" userId="147922e0-9e4e-413c-924b-93f8f61c2127" providerId="ADAL" clId="{F999FEBC-2A76-4E02-B95E-087879461975}" dt="2022-03-21T18:39:20.816" v="747" actId="26606"/>
          <ac:spMkLst>
            <pc:docMk/>
            <pc:sldMk cId="1055708473" sldId="330"/>
            <ac:spMk id="15" creationId="{62756DA2-40EB-4C6F-B962-5822FFB54FB6}"/>
          </ac:spMkLst>
        </pc:spChg>
        <pc:graphicFrameChg chg="mod modGraphic">
          <ac:chgData name="Helena Laasjärvi" userId="147922e0-9e4e-413c-924b-93f8f61c2127" providerId="ADAL" clId="{F999FEBC-2A76-4E02-B95E-087879461975}" dt="2022-03-21T18:39:20.816" v="747" actId="26606"/>
          <ac:graphicFrameMkLst>
            <pc:docMk/>
            <pc:sldMk cId="1055708473" sldId="330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999FEBC-2A76-4E02-B95E-087879461975}" dt="2022-03-21T18:39:27.759" v="749" actId="14100"/>
          <ac:picMkLst>
            <pc:docMk/>
            <pc:sldMk cId="1055708473" sldId="330"/>
            <ac:picMk id="6" creationId="{9D1B725A-9F7F-4A5F-A8A5-52289C013BBA}"/>
          </ac:picMkLst>
        </pc:picChg>
      </pc:sldChg>
      <pc:sldChg chg="modSp add mod ord">
        <pc:chgData name="Helena Laasjärvi" userId="147922e0-9e4e-413c-924b-93f8f61c2127" providerId="ADAL" clId="{F999FEBC-2A76-4E02-B95E-087879461975}" dt="2022-03-21T18:42:05.432" v="776" actId="1076"/>
        <pc:sldMkLst>
          <pc:docMk/>
          <pc:sldMk cId="4044381824" sldId="330"/>
        </pc:sldMkLst>
        <pc:spChg chg="mod">
          <ac:chgData name="Helena Laasjärvi" userId="147922e0-9e4e-413c-924b-93f8f61c2127" providerId="ADAL" clId="{F999FEBC-2A76-4E02-B95E-087879461975}" dt="2022-03-21T18:41:17.161" v="769"/>
          <ac:spMkLst>
            <pc:docMk/>
            <pc:sldMk cId="4044381824" sldId="330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F999FEBC-2A76-4E02-B95E-087879461975}" dt="2022-03-21T18:41:51.796" v="774" actId="207"/>
          <ac:graphicFrameMkLst>
            <pc:docMk/>
            <pc:sldMk cId="4044381824" sldId="330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999FEBC-2A76-4E02-B95E-087879461975}" dt="2022-03-21T18:42:05.432" v="776" actId="1076"/>
          <ac:picMkLst>
            <pc:docMk/>
            <pc:sldMk cId="4044381824" sldId="330"/>
            <ac:picMk id="6" creationId="{9D1B725A-9F7F-4A5F-A8A5-52289C013BBA}"/>
          </ac:picMkLst>
        </pc:picChg>
      </pc:sldChg>
      <pc:sldChg chg="addSp delSp modSp add mod ord">
        <pc:chgData name="Helena Laasjärvi" userId="147922e0-9e4e-413c-924b-93f8f61c2127" providerId="ADAL" clId="{F999FEBC-2A76-4E02-B95E-087879461975}" dt="2022-03-21T18:47:45.264" v="896" actId="207"/>
        <pc:sldMkLst>
          <pc:docMk/>
          <pc:sldMk cId="3929637336" sldId="331"/>
        </pc:sldMkLst>
        <pc:spChg chg="mod">
          <ac:chgData name="Helena Laasjärvi" userId="147922e0-9e4e-413c-924b-93f8f61c2127" providerId="ADAL" clId="{F999FEBC-2A76-4E02-B95E-087879461975}" dt="2022-03-21T18:47:15.094" v="850" actId="948"/>
          <ac:spMkLst>
            <pc:docMk/>
            <pc:sldMk cId="3929637336" sldId="331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F999FEBC-2A76-4E02-B95E-087879461975}" dt="2022-03-21T18:42:30.256" v="821"/>
          <ac:spMkLst>
            <pc:docMk/>
            <pc:sldMk cId="3929637336" sldId="331"/>
            <ac:spMk id="3" creationId="{BB10BD63-10DD-4BD3-A225-68EC0F9C565D}"/>
          </ac:spMkLst>
        </pc:spChg>
        <pc:spChg chg="add del mod modVis">
          <ac:chgData name="Helena Laasjärvi" userId="147922e0-9e4e-413c-924b-93f8f61c2127" providerId="ADAL" clId="{F999FEBC-2A76-4E02-B95E-087879461975}" dt="2022-03-21T18:47:15.156" v="889"/>
          <ac:spMkLst>
            <pc:docMk/>
            <pc:sldMk cId="3929637336" sldId="331"/>
            <ac:spMk id="5" creationId="{992D5966-0B61-485A-9208-DCA835CD3988}"/>
          </ac:spMkLst>
        </pc:spChg>
        <pc:grpChg chg="mod">
          <ac:chgData name="Helena Laasjärvi" userId="147922e0-9e4e-413c-924b-93f8f61c2127" providerId="ADAL" clId="{F999FEBC-2A76-4E02-B95E-087879461975}" dt="2022-03-21T18:42:22.321" v="778"/>
          <ac:grpSpMkLst>
            <pc:docMk/>
            <pc:sldMk cId="3929637336" sldId="331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F999FEBC-2A76-4E02-B95E-087879461975}" dt="2022-03-21T18:47:15.156" v="891"/>
          <ac:graphicFrameMkLst>
            <pc:docMk/>
            <pc:sldMk cId="3929637336" sldId="331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F999FEBC-2A76-4E02-B95E-087879461975}" dt="2022-03-21T18:47:45.264" v="896" actId="207"/>
          <ac:graphicFrameMkLst>
            <pc:docMk/>
            <pc:sldMk cId="3929637336" sldId="331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F999FEBC-2A76-4E02-B95E-087879461975}" dt="2022-03-21T18:42:22.321" v="778"/>
          <ac:picMkLst>
            <pc:docMk/>
            <pc:sldMk cId="3929637336" sldId="331"/>
            <ac:picMk id="4" creationId="{CF47ABF3-D808-437C-99C9-B7CE14174BFD}"/>
          </ac:picMkLst>
        </pc:picChg>
      </pc:sldChg>
      <pc:sldChg chg="addSp delSp modSp add mod ord">
        <pc:chgData name="Helena Laasjärvi" userId="147922e0-9e4e-413c-924b-93f8f61c2127" providerId="ADAL" clId="{F999FEBC-2A76-4E02-B95E-087879461975}" dt="2022-03-21T18:46:07.036" v="848" actId="1076"/>
        <pc:sldMkLst>
          <pc:docMk/>
          <pc:sldMk cId="2656244910" sldId="332"/>
        </pc:sldMkLst>
        <pc:spChg chg="mod">
          <ac:chgData name="Helena Laasjärvi" userId="147922e0-9e4e-413c-924b-93f8f61c2127" providerId="ADAL" clId="{F999FEBC-2A76-4E02-B95E-087879461975}" dt="2022-03-21T18:43:46.932" v="835"/>
          <ac:spMkLst>
            <pc:docMk/>
            <pc:sldMk cId="2656244910" sldId="332"/>
            <ac:spMk id="10" creationId="{0AA9639B-B7E2-44C5-9CA4-50187E024E5F}"/>
          </ac:spMkLst>
        </pc:spChg>
        <pc:graphicFrameChg chg="add del mod">
          <ac:chgData name="Helena Laasjärvi" userId="147922e0-9e4e-413c-924b-93f8f61c2127" providerId="ADAL" clId="{F999FEBC-2A76-4E02-B95E-087879461975}" dt="2022-03-21T18:45:33.829" v="841"/>
          <ac:graphicFrameMkLst>
            <pc:docMk/>
            <pc:sldMk cId="2656244910" sldId="332"/>
            <ac:graphicFrameMk id="7" creationId="{D469BB8E-3A8A-4F60-A1BC-75A584E418A3}"/>
          </ac:graphicFrameMkLst>
        </pc:graphicFrameChg>
        <pc:graphicFrameChg chg="del mod">
          <ac:chgData name="Helena Laasjärvi" userId="147922e0-9e4e-413c-924b-93f8f61c2127" providerId="ADAL" clId="{F999FEBC-2A76-4E02-B95E-087879461975}" dt="2022-03-21T18:45:38.420" v="842" actId="478"/>
          <ac:graphicFrameMkLst>
            <pc:docMk/>
            <pc:sldMk cId="2656244910" sldId="332"/>
            <ac:graphicFrameMk id="8" creationId="{B936F7B1-E20A-3AF0-9D08-1FF576802789}"/>
          </ac:graphicFrameMkLst>
        </pc:graphicFrameChg>
        <pc:graphicFrameChg chg="add mod">
          <ac:chgData name="Helena Laasjärvi" userId="147922e0-9e4e-413c-924b-93f8f61c2127" providerId="ADAL" clId="{F999FEBC-2A76-4E02-B95E-087879461975}" dt="2022-03-21T18:46:03.331" v="847" actId="14100"/>
          <ac:graphicFrameMkLst>
            <pc:docMk/>
            <pc:sldMk cId="2656244910" sldId="332"/>
            <ac:graphicFrameMk id="9" creationId="{70F72556-3325-4E00-88F9-12228D5B81AC}"/>
          </ac:graphicFrameMkLst>
        </pc:graphicFrameChg>
        <pc:picChg chg="mod">
          <ac:chgData name="Helena Laasjärvi" userId="147922e0-9e4e-413c-924b-93f8f61c2127" providerId="ADAL" clId="{F999FEBC-2A76-4E02-B95E-087879461975}" dt="2022-03-21T18:46:07.036" v="848" actId="1076"/>
          <ac:picMkLst>
            <pc:docMk/>
            <pc:sldMk cId="2656244910" sldId="332"/>
            <ac:picMk id="6" creationId="{9D1B725A-9F7F-4A5F-A8A5-52289C013BBA}"/>
          </ac:picMkLst>
        </pc:picChg>
      </pc:sldChg>
      <pc:sldChg chg="modSp add mod ord">
        <pc:chgData name="Helena Laasjärvi" userId="147922e0-9e4e-413c-924b-93f8f61c2127" providerId="ADAL" clId="{F999FEBC-2A76-4E02-B95E-087879461975}" dt="2022-03-21T18:49:21.898" v="911" actId="20577"/>
        <pc:sldMkLst>
          <pc:docMk/>
          <pc:sldMk cId="3837540713" sldId="333"/>
        </pc:sldMkLst>
        <pc:spChg chg="mod">
          <ac:chgData name="Helena Laasjärvi" userId="147922e0-9e4e-413c-924b-93f8f61c2127" providerId="ADAL" clId="{F999FEBC-2A76-4E02-B95E-087879461975}" dt="2022-03-21T18:48:25.908" v="904"/>
          <ac:spMkLst>
            <pc:docMk/>
            <pc:sldMk cId="3837540713" sldId="333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F999FEBC-2A76-4E02-B95E-087879461975}" dt="2022-03-21T18:49:21.898" v="911" actId="20577"/>
          <ac:graphicFrameMkLst>
            <pc:docMk/>
            <pc:sldMk cId="3837540713" sldId="333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F999FEBC-2A76-4E02-B95E-087879461975}" dt="2022-03-21T18:49:09.953" v="908" actId="14826"/>
          <ac:picMkLst>
            <pc:docMk/>
            <pc:sldMk cId="3837540713" sldId="333"/>
            <ac:picMk id="6" creationId="{9D1B725A-9F7F-4A5F-A8A5-52289C013BBA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 custT="1"/>
      <dgm:spPr>
        <a:solidFill>
          <a:srgbClr val="EC008C"/>
        </a:solidFill>
      </dgm:spPr>
      <dgm:t>
        <a:bodyPr/>
        <a:lstStyle/>
        <a:p>
          <a:r>
            <a:rPr lang="fi-FI" sz="2800" dirty="0"/>
            <a:t>Geeneissä proteiinien rakentamiseksi tarvittava informaatio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70EEA87C-3A5F-4F6F-8271-07F53B43CBE7}">
      <dgm:prSet custT="1"/>
      <dgm:spPr>
        <a:solidFill>
          <a:srgbClr val="F27CB1"/>
        </a:solidFill>
      </dgm:spPr>
      <dgm:t>
        <a:bodyPr/>
        <a:lstStyle/>
        <a:p>
          <a:r>
            <a:rPr lang="fi-FI" sz="2800" dirty="0"/>
            <a:t>Proteiinien kautta geenit ohjaavat solujen toimintaa</a:t>
          </a:r>
          <a:endParaRPr lang="fi-FI" sz="2800" dirty="0">
            <a:cs typeface="Calibri"/>
          </a:endParaRPr>
        </a:p>
      </dgm:t>
    </dgm:pt>
    <dgm:pt modelId="{E8B16D67-EA44-4FDF-BAAE-810508DE9F96}" type="parTrans" cxnId="{D02A2098-9524-4CC2-B900-DB0640FE2AD5}">
      <dgm:prSet/>
      <dgm:spPr/>
      <dgm:t>
        <a:bodyPr/>
        <a:lstStyle/>
        <a:p>
          <a:endParaRPr lang="fi-FI"/>
        </a:p>
      </dgm:t>
    </dgm:pt>
    <dgm:pt modelId="{41115C90-7609-40B1-955A-18D3F8EDFBA0}" type="sibTrans" cxnId="{D02A2098-9524-4CC2-B900-DB0640FE2AD5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528E58FA-D514-4974-95F1-C3A81A6CC8AA}" type="pres">
      <dgm:prSet presAssocID="{70EEA87C-3A5F-4F6F-8271-07F53B43CBE7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D02A2098-9524-4CC2-B900-DB0640FE2AD5}" srcId="{2DD9BEDF-B9E2-4ABA-A056-FFA32216D3C8}" destId="{70EEA87C-3A5F-4F6F-8271-07F53B43CBE7}" srcOrd="1" destOrd="0" parTransId="{E8B16D67-EA44-4FDF-BAAE-810508DE9F96}" sibTransId="{41115C90-7609-40B1-955A-18D3F8EDFBA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0B96E8A4-ABD7-4CA2-9604-5B31470831CF}" type="presOf" srcId="{70EEA87C-3A5F-4F6F-8271-07F53B43CBE7}" destId="{528E58FA-D514-4974-95F1-C3A81A6CC8AA}" srcOrd="0" destOrd="0" presId="urn:microsoft.com/office/officeart/2005/8/layout/vList2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CC3D9EA9-228B-4C19-A79A-0B22772DAFBF}" type="presParOf" srcId="{2A2F781F-16C1-4D29-B08D-ACB557B90863}" destId="{528E58FA-D514-4974-95F1-C3A81A6CC8A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process2" loCatId="process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Esiaste-RNA:ta muokataan: molekyylistä</a:t>
          </a:r>
          <a:r>
            <a:rPr lang="fi-FI" dirty="0">
              <a:ea typeface="+mn-lt"/>
              <a:cs typeface="+mn-lt"/>
            </a:rPr>
            <a:t> mm. silmukoidaan pois </a:t>
          </a:r>
          <a:r>
            <a:rPr lang="fi-FI" dirty="0" err="1">
              <a:ea typeface="+mn-lt"/>
              <a:cs typeface="+mn-lt"/>
            </a:rPr>
            <a:t>intronit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2ED0220-A30D-4C5C-B3DA-B74D4CBF2F65}">
      <dgm:prSet/>
      <dgm:spPr>
        <a:solidFill>
          <a:srgbClr val="F27CB1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muodostunut lähetti-RNA jatkaa solulimaan</a:t>
          </a:r>
          <a:endParaRPr lang="fi-FI" dirty="0">
            <a:cs typeface="Calibri"/>
          </a:endParaRPr>
        </a:p>
      </dgm:t>
    </dgm:pt>
    <dgm:pt modelId="{18E9E8D3-5A96-4C5C-83BE-CFC047288147}" type="parTrans" cxnId="{1DCC7A9B-DAAF-4B3B-BA35-2CC5760D06ED}">
      <dgm:prSet/>
      <dgm:spPr/>
      <dgm:t>
        <a:bodyPr/>
        <a:lstStyle/>
        <a:p>
          <a:endParaRPr lang="fi-FI"/>
        </a:p>
      </dgm:t>
    </dgm:pt>
    <dgm:pt modelId="{09E40A47-DB11-48EB-8273-23C0EAE363AF}" type="sibTrans" cxnId="{1DCC7A9B-DAAF-4B3B-BA35-2CC5760D06ED}">
      <dgm:prSet/>
      <dgm:spPr/>
      <dgm:t>
        <a:bodyPr/>
        <a:lstStyle/>
        <a:p>
          <a:endParaRPr lang="fi-FI"/>
        </a:p>
      </dgm:t>
    </dgm:pt>
    <dgm:pt modelId="{F21D82FC-F7EE-404B-A898-E5D6BE6569E1}" type="pres">
      <dgm:prSet presAssocID="{005063B7-85D1-441D-87C6-864638207FCC}" presName="linearFlow" presStyleCnt="0">
        <dgm:presLayoutVars>
          <dgm:resizeHandles val="exact"/>
        </dgm:presLayoutVars>
      </dgm:prSet>
      <dgm:spPr/>
    </dgm:pt>
    <dgm:pt modelId="{8CE8424A-BCEB-4851-8CB6-3C043E67F1D7}" type="pres">
      <dgm:prSet presAssocID="{7BC353A9-2E9A-4B42-B9DF-3904A72B6A0E}" presName="node" presStyleLbl="node1" presStyleIdx="0" presStyleCnt="2">
        <dgm:presLayoutVars>
          <dgm:bulletEnabled val="1"/>
        </dgm:presLayoutVars>
      </dgm:prSet>
      <dgm:spPr/>
    </dgm:pt>
    <dgm:pt modelId="{D5D8CA9E-C4C9-4A76-B455-85BCEF8013CA}" type="pres">
      <dgm:prSet presAssocID="{34A83047-F862-4DFB-A54B-26CD2997000F}" presName="sibTrans" presStyleLbl="sibTrans2D1" presStyleIdx="0" presStyleCnt="1"/>
      <dgm:spPr/>
    </dgm:pt>
    <dgm:pt modelId="{C0942797-FCFE-4CE2-AFCF-A2A6528AD5DA}" type="pres">
      <dgm:prSet presAssocID="{34A83047-F862-4DFB-A54B-26CD2997000F}" presName="connectorText" presStyleLbl="sibTrans2D1" presStyleIdx="0" presStyleCnt="1"/>
      <dgm:spPr/>
    </dgm:pt>
    <dgm:pt modelId="{12F4FA3F-614A-4107-8881-5556EA7E14D7}" type="pres">
      <dgm:prSet presAssocID="{92ED0220-A30D-4C5C-B3DA-B74D4CBF2F65}" presName="node" presStyleLbl="node1" presStyleIdx="1" presStyleCnt="2">
        <dgm:presLayoutVars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A8F16B48-0FE1-40C8-9BAF-EED6174763AE}" type="presOf" srcId="{005063B7-85D1-441D-87C6-864638207FCC}" destId="{F21D82FC-F7EE-404B-A898-E5D6BE6569E1}" srcOrd="0" destOrd="0" presId="urn:microsoft.com/office/officeart/2005/8/layout/process2"/>
    <dgm:cxn modelId="{1DCC7A9B-DAAF-4B3B-BA35-2CC5760D06ED}" srcId="{005063B7-85D1-441D-87C6-864638207FCC}" destId="{92ED0220-A30D-4C5C-B3DA-B74D4CBF2F65}" srcOrd="1" destOrd="0" parTransId="{18E9E8D3-5A96-4C5C-83BE-CFC047288147}" sibTransId="{09E40A47-DB11-48EB-8273-23C0EAE363AF}"/>
    <dgm:cxn modelId="{6B53B8A9-9867-4D4D-A1C8-646F40356801}" type="presOf" srcId="{7BC353A9-2E9A-4B42-B9DF-3904A72B6A0E}" destId="{8CE8424A-BCEB-4851-8CB6-3C043E67F1D7}" srcOrd="0" destOrd="0" presId="urn:microsoft.com/office/officeart/2005/8/layout/process2"/>
    <dgm:cxn modelId="{F467E7EA-9779-4C6E-B99E-5452B40E5A5E}" type="presOf" srcId="{34A83047-F862-4DFB-A54B-26CD2997000F}" destId="{D5D8CA9E-C4C9-4A76-B455-85BCEF8013CA}" srcOrd="0" destOrd="0" presId="urn:microsoft.com/office/officeart/2005/8/layout/process2"/>
    <dgm:cxn modelId="{70D559FB-F5A6-4934-9CB4-1719BD28FFA2}" type="presOf" srcId="{34A83047-F862-4DFB-A54B-26CD2997000F}" destId="{C0942797-FCFE-4CE2-AFCF-A2A6528AD5DA}" srcOrd="1" destOrd="0" presId="urn:microsoft.com/office/officeart/2005/8/layout/process2"/>
    <dgm:cxn modelId="{4BB792FE-D18E-48D6-9744-FE16EC4F9580}" type="presOf" srcId="{92ED0220-A30D-4C5C-B3DA-B74D4CBF2F65}" destId="{12F4FA3F-614A-4107-8881-5556EA7E14D7}" srcOrd="0" destOrd="0" presId="urn:microsoft.com/office/officeart/2005/8/layout/process2"/>
    <dgm:cxn modelId="{DDC9526B-5BD0-4687-AE1D-6BF00F48F482}" type="presParOf" srcId="{F21D82FC-F7EE-404B-A898-E5D6BE6569E1}" destId="{8CE8424A-BCEB-4851-8CB6-3C043E67F1D7}" srcOrd="0" destOrd="0" presId="urn:microsoft.com/office/officeart/2005/8/layout/process2"/>
    <dgm:cxn modelId="{713E4189-A677-47AA-A9CD-3E480BF834EA}" type="presParOf" srcId="{F21D82FC-F7EE-404B-A898-E5D6BE6569E1}" destId="{D5D8CA9E-C4C9-4A76-B455-85BCEF8013CA}" srcOrd="1" destOrd="0" presId="urn:microsoft.com/office/officeart/2005/8/layout/process2"/>
    <dgm:cxn modelId="{3DD643E3-7106-4BDF-839C-0E6A502140B3}" type="presParOf" srcId="{D5D8CA9E-C4C9-4A76-B455-85BCEF8013CA}" destId="{C0942797-FCFE-4CE2-AFCF-A2A6528AD5DA}" srcOrd="0" destOrd="0" presId="urn:microsoft.com/office/officeart/2005/8/layout/process2"/>
    <dgm:cxn modelId="{897C7C2C-5813-4098-8699-76DC526F6BAD}" type="presParOf" srcId="{F21D82FC-F7EE-404B-A898-E5D6BE6569E1}" destId="{12F4FA3F-614A-4107-8881-5556EA7E14D7}" srcOrd="2" destOrd="0" presId="urn:microsoft.com/office/officeart/2005/8/layout/process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 err="1"/>
            <a:t>siirtäjä-RNA:t</a:t>
          </a:r>
          <a:r>
            <a:rPr lang="fi-FI" dirty="0"/>
            <a:t> tuovat </a:t>
          </a:r>
        </a:p>
        <a:p>
          <a:r>
            <a:rPr lang="fi-FI" dirty="0" err="1"/>
            <a:t>ribosomiin</a:t>
          </a:r>
          <a:r>
            <a:rPr lang="fi-FI" dirty="0"/>
            <a:t> kutakin lähetti-RNA:n emäskolmikkoa vastaavat aminohapot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aminohappoketjun rakentaminen alkaa aloituskolmikosta ja päättyy lopetuskolmikkoon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>
              <a:cs typeface="Calibri" panose="020F0502020204030204"/>
            </a:rPr>
            <a:t>aminohappoketju saa kolmiulotteisen muotonsa</a:t>
          </a:r>
          <a:endParaRPr lang="fi-FI" dirty="0"/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D874A50-C45F-4771-8125-2AFA4C37FBF6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F88332B-1EBF-433B-A49D-5E3D9CB91196}" type="pres">
      <dgm:prSet presAssocID="{3752F3AD-DF89-4911-B284-6E754B9C35DA}" presName="spacer" presStyleCnt="0"/>
      <dgm:spPr/>
    </dgm:pt>
    <dgm:pt modelId="{BE92AD39-0414-4147-8835-B4B9C1A6BBEB}" type="pres">
      <dgm:prSet presAssocID="{84F9C0A8-C2D1-4864-85C6-3B384E21C88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E7E6C3F5-A5B5-4730-96F5-7FBA34FAA6D2}" type="presOf" srcId="{84F9C0A8-C2D1-4864-85C6-3B384E21C88D}" destId="{BE92AD39-0414-4147-8835-B4B9C1A6BBEB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129F96CE-81BC-4B33-8D88-F20F0D6786F7}" type="presParOf" srcId="{C98BB3D8-F1F9-4980-A813-50F0C2AEBD98}" destId="{FD874A50-C45F-4771-8125-2AFA4C37FBF6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D9E4E6E3-82D6-4040-A054-072CEB1EF3E3}" type="presParOf" srcId="{C98BB3D8-F1F9-4980-A813-50F0C2AEBD98}" destId="{1F88332B-1EBF-433B-A49D-5E3D9CB91196}" srcOrd="3" destOrd="0" presId="urn:microsoft.com/office/officeart/2005/8/layout/vList2"/>
    <dgm:cxn modelId="{AFE372D8-9338-4E43-BD02-78877E84AB77}" type="presParOf" srcId="{C98BB3D8-F1F9-4980-A813-50F0C2AEBD98}" destId="{BE92AD39-0414-4147-8835-B4B9C1A6BBEB}" srcOrd="4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process2" loCatId="process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Ulos eritettävät proteiinit, solun omat kalvoproteiinit tai solun kalvorakkuloiden entsyymit valmistetaan karkean solulimakalvoston </a:t>
          </a:r>
          <a:r>
            <a:rPr lang="fi-FI" dirty="0" err="1">
              <a:ea typeface="+mn-lt"/>
              <a:cs typeface="+mn-lt"/>
            </a:rPr>
            <a:t>ribosomeiss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2ED0220-A30D-4C5C-B3DA-B74D4CBF2F6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Proteiinien muokkaamista jatketaan </a:t>
          </a:r>
          <a:r>
            <a:rPr lang="fi-FI" dirty="0" err="1"/>
            <a:t>Golgin</a:t>
          </a:r>
          <a:r>
            <a:rPr lang="fi-FI" dirty="0"/>
            <a:t> laitteessa, mistä ne lähetetään kohteeseensa. </a:t>
          </a:r>
          <a:endParaRPr lang="fi-FI" dirty="0">
            <a:cs typeface="Calibri"/>
          </a:endParaRPr>
        </a:p>
      </dgm:t>
    </dgm:pt>
    <dgm:pt modelId="{18E9E8D3-5A96-4C5C-83BE-CFC047288147}" type="parTrans" cxnId="{1DCC7A9B-DAAF-4B3B-BA35-2CC5760D06ED}">
      <dgm:prSet/>
      <dgm:spPr/>
      <dgm:t>
        <a:bodyPr/>
        <a:lstStyle/>
        <a:p>
          <a:endParaRPr lang="fi-FI"/>
        </a:p>
      </dgm:t>
    </dgm:pt>
    <dgm:pt modelId="{09E40A47-DB11-48EB-8273-23C0EAE363AF}" type="sibTrans" cxnId="{1DCC7A9B-DAAF-4B3B-BA35-2CC5760D06ED}">
      <dgm:prSet/>
      <dgm:spPr/>
      <dgm:t>
        <a:bodyPr/>
        <a:lstStyle/>
        <a:p>
          <a:endParaRPr lang="fi-FI"/>
        </a:p>
      </dgm:t>
    </dgm:pt>
    <dgm:pt modelId="{F21D82FC-F7EE-404B-A898-E5D6BE6569E1}" type="pres">
      <dgm:prSet presAssocID="{005063B7-85D1-441D-87C6-864638207FCC}" presName="linearFlow" presStyleCnt="0">
        <dgm:presLayoutVars>
          <dgm:resizeHandles val="exact"/>
        </dgm:presLayoutVars>
      </dgm:prSet>
      <dgm:spPr/>
    </dgm:pt>
    <dgm:pt modelId="{8CE8424A-BCEB-4851-8CB6-3C043E67F1D7}" type="pres">
      <dgm:prSet presAssocID="{7BC353A9-2E9A-4B42-B9DF-3904A72B6A0E}" presName="node" presStyleLbl="node1" presStyleIdx="0" presStyleCnt="2">
        <dgm:presLayoutVars>
          <dgm:bulletEnabled val="1"/>
        </dgm:presLayoutVars>
      </dgm:prSet>
      <dgm:spPr/>
    </dgm:pt>
    <dgm:pt modelId="{D5D8CA9E-C4C9-4A76-B455-85BCEF8013CA}" type="pres">
      <dgm:prSet presAssocID="{34A83047-F862-4DFB-A54B-26CD2997000F}" presName="sibTrans" presStyleLbl="sibTrans2D1" presStyleIdx="0" presStyleCnt="1"/>
      <dgm:spPr/>
    </dgm:pt>
    <dgm:pt modelId="{C0942797-FCFE-4CE2-AFCF-A2A6528AD5DA}" type="pres">
      <dgm:prSet presAssocID="{34A83047-F862-4DFB-A54B-26CD2997000F}" presName="connectorText" presStyleLbl="sibTrans2D1" presStyleIdx="0" presStyleCnt="1"/>
      <dgm:spPr/>
    </dgm:pt>
    <dgm:pt modelId="{12F4FA3F-614A-4107-8881-5556EA7E14D7}" type="pres">
      <dgm:prSet presAssocID="{92ED0220-A30D-4C5C-B3DA-B74D4CBF2F65}" presName="node" presStyleLbl="node1" presStyleIdx="1" presStyleCnt="2">
        <dgm:presLayoutVars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A8F16B48-0FE1-40C8-9BAF-EED6174763AE}" type="presOf" srcId="{005063B7-85D1-441D-87C6-864638207FCC}" destId="{F21D82FC-F7EE-404B-A898-E5D6BE6569E1}" srcOrd="0" destOrd="0" presId="urn:microsoft.com/office/officeart/2005/8/layout/process2"/>
    <dgm:cxn modelId="{1DCC7A9B-DAAF-4B3B-BA35-2CC5760D06ED}" srcId="{005063B7-85D1-441D-87C6-864638207FCC}" destId="{92ED0220-A30D-4C5C-B3DA-B74D4CBF2F65}" srcOrd="1" destOrd="0" parTransId="{18E9E8D3-5A96-4C5C-83BE-CFC047288147}" sibTransId="{09E40A47-DB11-48EB-8273-23C0EAE363AF}"/>
    <dgm:cxn modelId="{6B53B8A9-9867-4D4D-A1C8-646F40356801}" type="presOf" srcId="{7BC353A9-2E9A-4B42-B9DF-3904A72B6A0E}" destId="{8CE8424A-BCEB-4851-8CB6-3C043E67F1D7}" srcOrd="0" destOrd="0" presId="urn:microsoft.com/office/officeart/2005/8/layout/process2"/>
    <dgm:cxn modelId="{F467E7EA-9779-4C6E-B99E-5452B40E5A5E}" type="presOf" srcId="{34A83047-F862-4DFB-A54B-26CD2997000F}" destId="{D5D8CA9E-C4C9-4A76-B455-85BCEF8013CA}" srcOrd="0" destOrd="0" presId="urn:microsoft.com/office/officeart/2005/8/layout/process2"/>
    <dgm:cxn modelId="{70D559FB-F5A6-4934-9CB4-1719BD28FFA2}" type="presOf" srcId="{34A83047-F862-4DFB-A54B-26CD2997000F}" destId="{C0942797-FCFE-4CE2-AFCF-A2A6528AD5DA}" srcOrd="1" destOrd="0" presId="urn:microsoft.com/office/officeart/2005/8/layout/process2"/>
    <dgm:cxn modelId="{4BB792FE-D18E-48D6-9744-FE16EC4F9580}" type="presOf" srcId="{92ED0220-A30D-4C5C-B3DA-B74D4CBF2F65}" destId="{12F4FA3F-614A-4107-8881-5556EA7E14D7}" srcOrd="0" destOrd="0" presId="urn:microsoft.com/office/officeart/2005/8/layout/process2"/>
    <dgm:cxn modelId="{DDC9526B-5BD0-4687-AE1D-6BF00F48F482}" type="presParOf" srcId="{F21D82FC-F7EE-404B-A898-E5D6BE6569E1}" destId="{8CE8424A-BCEB-4851-8CB6-3C043E67F1D7}" srcOrd="0" destOrd="0" presId="urn:microsoft.com/office/officeart/2005/8/layout/process2"/>
    <dgm:cxn modelId="{713E4189-A677-47AA-A9CD-3E480BF834EA}" type="presParOf" srcId="{F21D82FC-F7EE-404B-A898-E5D6BE6569E1}" destId="{D5D8CA9E-C4C9-4A76-B455-85BCEF8013CA}" srcOrd="1" destOrd="0" presId="urn:microsoft.com/office/officeart/2005/8/layout/process2"/>
    <dgm:cxn modelId="{3DD643E3-7106-4BDF-839C-0E6A502140B3}" type="presParOf" srcId="{D5D8CA9E-C4C9-4A76-B455-85BCEF8013CA}" destId="{C0942797-FCFE-4CE2-AFCF-A2A6528AD5DA}" srcOrd="0" destOrd="0" presId="urn:microsoft.com/office/officeart/2005/8/layout/process2"/>
    <dgm:cxn modelId="{897C7C2C-5813-4098-8699-76DC526F6BAD}" type="presParOf" srcId="{F21D82FC-F7EE-404B-A898-E5D6BE6569E1}" destId="{12F4FA3F-614A-4107-8881-5556EA7E14D7}" srcOrd="2" destOrd="0" presId="urn:microsoft.com/office/officeart/2005/8/layout/process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uurin osa tumallisen solun geeneistä on inaktiivisia, ne aktivoidaan säätelyproteiinien avulla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E3A88706-D89E-4635-99F4-D8D28A220DED}">
      <dgm:prSet/>
      <dgm:spPr>
        <a:solidFill>
          <a:srgbClr val="F599C3"/>
        </a:solidFill>
      </dgm:spPr>
      <dgm:t>
        <a:bodyPr/>
        <a:lstStyle/>
        <a:p>
          <a:r>
            <a:rPr lang="fi-FI" dirty="0">
              <a:cs typeface="Calibri"/>
            </a:rPr>
            <a:t>Säätelyproteiinit kiinnittyvät geenin säätelyalueen tehostajajaksoihin</a:t>
          </a:r>
          <a:endParaRPr lang="fi-FI" dirty="0"/>
        </a:p>
      </dgm:t>
    </dgm:pt>
    <dgm:pt modelId="{4AC40A38-4AFB-4215-9418-C837EF8A3185}" type="parTrans" cxnId="{C4F91F34-73AD-4676-8EC1-6E3E724FBC38}">
      <dgm:prSet/>
      <dgm:spPr/>
      <dgm:t>
        <a:bodyPr/>
        <a:lstStyle/>
        <a:p>
          <a:endParaRPr lang="fi-FI"/>
        </a:p>
      </dgm:t>
    </dgm:pt>
    <dgm:pt modelId="{98C36BAB-F5F5-47E8-90F4-EEC59352ABFB}" type="sibTrans" cxnId="{C4F91F34-73AD-4676-8EC1-6E3E724FBC38}">
      <dgm:prSet/>
      <dgm:spPr/>
      <dgm:t>
        <a:bodyPr/>
        <a:lstStyle/>
        <a:p>
          <a:endParaRPr lang="fi-FI"/>
        </a:p>
      </dgm:t>
    </dgm:pt>
    <dgm:pt modelId="{4FFA7FE6-C457-4337-A9DE-2114B936243A}">
      <dgm:prSet/>
      <dgm:spPr>
        <a:solidFill>
          <a:srgbClr val="F9C3DB"/>
        </a:solidFill>
      </dgm:spPr>
      <dgm:t>
        <a:bodyPr/>
        <a:lstStyle/>
        <a:p>
          <a:r>
            <a:rPr lang="fi-FI" dirty="0" err="1"/>
            <a:t>Mikro-RNA:llä</a:t>
          </a:r>
          <a:r>
            <a:rPr lang="fi-FI" dirty="0"/>
            <a:t> voidaan keskeyttää proteiinisynteesi</a:t>
          </a:r>
        </a:p>
      </dgm:t>
    </dgm:pt>
    <dgm:pt modelId="{41DD13BA-6DB4-4246-A0A2-0EB5C6783A9B}" type="parTrans" cxnId="{902D1854-C4C3-4946-8F1B-329340E2C09D}">
      <dgm:prSet/>
      <dgm:spPr/>
      <dgm:t>
        <a:bodyPr/>
        <a:lstStyle/>
        <a:p>
          <a:endParaRPr lang="fi-FI"/>
        </a:p>
      </dgm:t>
    </dgm:pt>
    <dgm:pt modelId="{3E5DA738-5C39-4261-B865-0C02F219FF86}" type="sibTrans" cxnId="{902D1854-C4C3-4946-8F1B-329340E2C09D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1A5249DC-2EA9-4E97-9D27-4AA5E2F34B91}" type="pres">
      <dgm:prSet presAssocID="{0E1C6016-7DEB-4E2F-9797-C18C672777F4}" presName="spacer" presStyleCnt="0"/>
      <dgm:spPr/>
    </dgm:pt>
    <dgm:pt modelId="{D5E05736-E9B4-4790-9BF3-E3D5EE35FD82}" type="pres">
      <dgm:prSet presAssocID="{E3A88706-D89E-4635-99F4-D8D28A220DE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B4EECDD-C538-45AF-8FBC-CD646D41DB08}" type="pres">
      <dgm:prSet presAssocID="{98C36BAB-F5F5-47E8-90F4-EEC59352ABFB}" presName="spacer" presStyleCnt="0"/>
      <dgm:spPr/>
    </dgm:pt>
    <dgm:pt modelId="{BD5CC919-C6F7-4354-9D7C-5219A148DB82}" type="pres">
      <dgm:prSet presAssocID="{4FFA7FE6-C457-4337-A9DE-2114B936243A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C4F91F34-73AD-4676-8EC1-6E3E724FBC38}" srcId="{2DD9BEDF-B9E2-4ABA-A056-FFA32216D3C8}" destId="{E3A88706-D89E-4635-99F4-D8D28A220DED}" srcOrd="1" destOrd="0" parTransId="{4AC40A38-4AFB-4215-9418-C837EF8A3185}" sibTransId="{98C36BAB-F5F5-47E8-90F4-EEC59352ABFB}"/>
    <dgm:cxn modelId="{902D1854-C4C3-4946-8F1B-329340E2C09D}" srcId="{2DD9BEDF-B9E2-4ABA-A056-FFA32216D3C8}" destId="{4FFA7FE6-C457-4337-A9DE-2114B936243A}" srcOrd="2" destOrd="0" parTransId="{41DD13BA-6DB4-4246-A0A2-0EB5C6783A9B}" sibTransId="{3E5DA738-5C39-4261-B865-0C02F219FF86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A7A159F-B9F2-4AB8-80EF-992C7EBBD9B5}" type="presOf" srcId="{4FFA7FE6-C457-4337-A9DE-2114B936243A}" destId="{BD5CC919-C6F7-4354-9D7C-5219A148DB82}" srcOrd="0" destOrd="0" presId="urn:microsoft.com/office/officeart/2005/8/layout/vList2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E27D26C0-CA14-41B8-B58C-67E62212BC77}" type="presOf" srcId="{E3A88706-D89E-4635-99F4-D8D28A220DED}" destId="{D5E05736-E9B4-4790-9BF3-E3D5EE35FD82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F94BB68E-82FF-48E2-970C-A7C5F04B479C}" type="presParOf" srcId="{2A2F781F-16C1-4D29-B08D-ACB557B90863}" destId="{1A5249DC-2EA9-4E97-9D27-4AA5E2F34B91}" srcOrd="1" destOrd="0" presId="urn:microsoft.com/office/officeart/2005/8/layout/vList2"/>
    <dgm:cxn modelId="{FE5DBF94-493B-4B4F-8FA7-17A60FB861B1}" type="presParOf" srcId="{2A2F781F-16C1-4D29-B08D-ACB557B90863}" destId="{D5E05736-E9B4-4790-9BF3-E3D5EE35FD82}" srcOrd="2" destOrd="0" presId="urn:microsoft.com/office/officeart/2005/8/layout/vList2"/>
    <dgm:cxn modelId="{6A68EE43-ABD2-4EF7-A881-3B3BEAC5CE96}" type="presParOf" srcId="{2A2F781F-16C1-4D29-B08D-ACB557B90863}" destId="{2B4EECDD-C538-45AF-8FBC-CD646D41DB08}" srcOrd="3" destOrd="0" presId="urn:microsoft.com/office/officeart/2005/8/layout/vList2"/>
    <dgm:cxn modelId="{2A8C255F-39DB-4022-8272-C0071730E0FA}" type="presParOf" srcId="{2A2F781F-16C1-4D29-B08D-ACB557B90863}" destId="{BD5CC919-C6F7-4354-9D7C-5219A148DB82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Ympäristöolosuhteet ohjaavat  geenejä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 err="1"/>
            <a:t>Epigeneettisessä</a:t>
          </a:r>
          <a:r>
            <a:rPr lang="fi-FI" dirty="0"/>
            <a:t> säätelyssä itse geeni ei muutu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 err="1"/>
            <a:t>Epigeneettiset</a:t>
          </a:r>
          <a:r>
            <a:rPr lang="fi-FI" dirty="0"/>
            <a:t> muutokset perimässä voivat periytyä</a:t>
          </a:r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D90E9538-5C8F-4421-8EA2-53D8BBF3D8CD}">
      <dgm:prSet/>
      <dgm:spPr/>
      <dgm:t>
        <a:bodyPr/>
        <a:lstStyle/>
        <a:p>
          <a:r>
            <a:rPr lang="fi-FI"/>
            <a:t>sammuttamalla niitä</a:t>
          </a:r>
          <a:endParaRPr lang="fi-FI" dirty="0"/>
        </a:p>
      </dgm:t>
    </dgm:pt>
    <dgm:pt modelId="{62C192D1-74B4-4667-AE56-3BDB4F7AC8C1}" type="parTrans" cxnId="{CF7BB2DB-C70F-4DF2-826B-37BCEBAB6703}">
      <dgm:prSet/>
      <dgm:spPr/>
      <dgm:t>
        <a:bodyPr/>
        <a:lstStyle/>
        <a:p>
          <a:endParaRPr lang="fi-FI"/>
        </a:p>
      </dgm:t>
    </dgm:pt>
    <dgm:pt modelId="{8D32F74B-A13A-4958-97D4-D48FCAB3086D}" type="sibTrans" cxnId="{CF7BB2DB-C70F-4DF2-826B-37BCEBAB6703}">
      <dgm:prSet/>
      <dgm:spPr/>
      <dgm:t>
        <a:bodyPr/>
        <a:lstStyle/>
        <a:p>
          <a:endParaRPr lang="fi-FI"/>
        </a:p>
      </dgm:t>
    </dgm:pt>
    <dgm:pt modelId="{BD9A19A4-6825-4DC0-831B-15917C20289B}">
      <dgm:prSet/>
      <dgm:spPr/>
      <dgm:t>
        <a:bodyPr/>
        <a:lstStyle/>
        <a:p>
          <a:r>
            <a:rPr lang="fi-FI" dirty="0"/>
            <a:t>käynnistämällä niitä</a:t>
          </a:r>
        </a:p>
      </dgm:t>
    </dgm:pt>
    <dgm:pt modelId="{2EDCDEE0-A68F-4386-87E1-E4534C2E8039}" type="parTrans" cxnId="{DA17BFDF-1BAE-4589-A110-04CDF6216521}">
      <dgm:prSet/>
      <dgm:spPr/>
      <dgm:t>
        <a:bodyPr/>
        <a:lstStyle/>
        <a:p>
          <a:endParaRPr lang="fi-FI"/>
        </a:p>
      </dgm:t>
    </dgm:pt>
    <dgm:pt modelId="{183499B2-0E57-43A1-AF28-BB558198D14B}" type="sibTrans" cxnId="{DA17BFDF-1BAE-4589-A110-04CDF6216521}">
      <dgm:prSet/>
      <dgm:spPr/>
      <dgm:t>
        <a:bodyPr/>
        <a:lstStyle/>
        <a:p>
          <a:endParaRPr lang="fi-FI"/>
        </a:p>
      </dgm:t>
    </dgm:pt>
    <dgm:pt modelId="{1639ABD8-2355-48E6-980E-D881D0054441}">
      <dgm:prSet/>
      <dgm:spPr/>
      <dgm:t>
        <a:bodyPr/>
        <a:lstStyle/>
        <a:p>
          <a:endParaRPr lang="fi-FI" dirty="0"/>
        </a:p>
      </dgm:t>
    </dgm:pt>
    <dgm:pt modelId="{E7491932-3288-4744-BE02-DCED2A8DD756}" type="parTrans" cxnId="{688EF855-DC3C-42C6-B85E-355D3F843D40}">
      <dgm:prSet/>
      <dgm:spPr/>
      <dgm:t>
        <a:bodyPr/>
        <a:lstStyle/>
        <a:p>
          <a:endParaRPr lang="fi-FI"/>
        </a:p>
      </dgm:t>
    </dgm:pt>
    <dgm:pt modelId="{DCE4B73B-6A67-4D54-BDD3-19B0E45E6A87}" type="sibTrans" cxnId="{688EF855-DC3C-42C6-B85E-355D3F843D40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CC26326F-137F-4CA9-B450-D41AB8FFAD98}" type="pres">
      <dgm:prSet presAssocID="{7BC353A9-2E9A-4B42-B9DF-3904A72B6A0E}" presName="childText" presStyleLbl="revTx" presStyleIdx="0" presStyleCnt="1">
        <dgm:presLayoutVars>
          <dgm:bulletEnabled val="1"/>
        </dgm:presLayoutVars>
      </dgm:prSet>
      <dgm:spPr/>
    </dgm:pt>
    <dgm:pt modelId="{BFD4EF96-1CE6-49E4-A2C5-AD9722D55C76}" type="pres">
      <dgm:prSet presAssocID="{909AA532-506D-4606-B4AA-A6C6B568EE3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F88332B-1EBF-433B-A49D-5E3D9CB91196}" type="pres">
      <dgm:prSet presAssocID="{3752F3AD-DF89-4911-B284-6E754B9C35DA}" presName="spacer" presStyleCnt="0"/>
      <dgm:spPr/>
    </dgm:pt>
    <dgm:pt modelId="{BE92AD39-0414-4147-8835-B4B9C1A6BBEB}" type="pres">
      <dgm:prSet presAssocID="{84F9C0A8-C2D1-4864-85C6-3B384E21C88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688EF855-DC3C-42C6-B85E-355D3F843D40}" srcId="{7BC353A9-2E9A-4B42-B9DF-3904A72B6A0E}" destId="{1639ABD8-2355-48E6-980E-D881D0054441}" srcOrd="2" destOrd="0" parTransId="{E7491932-3288-4744-BE02-DCED2A8DD756}" sibTransId="{DCE4B73B-6A67-4D54-BDD3-19B0E45E6A87}"/>
    <dgm:cxn modelId="{EDDCF283-E94F-4AC9-9BC7-4D2486A385D8}" type="presOf" srcId="{D90E9538-5C8F-4421-8EA2-53D8BBF3D8CD}" destId="{CC26326F-137F-4CA9-B450-D41AB8FFA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3E91D5AC-8578-4A11-8C04-9417CC562F95}" type="presOf" srcId="{1639ABD8-2355-48E6-980E-D881D0054441}" destId="{CC26326F-137F-4CA9-B450-D41AB8FFAD98}" srcOrd="0" destOrd="2" presId="urn:microsoft.com/office/officeart/2005/8/layout/vList2"/>
    <dgm:cxn modelId="{CF7BB2DB-C70F-4DF2-826B-37BCEBAB6703}" srcId="{7BC353A9-2E9A-4B42-B9DF-3904A72B6A0E}" destId="{D90E9538-5C8F-4421-8EA2-53D8BBF3D8CD}" srcOrd="0" destOrd="0" parTransId="{62C192D1-74B4-4667-AE56-3BDB4F7AC8C1}" sibTransId="{8D32F74B-A13A-4958-97D4-D48FCAB3086D}"/>
    <dgm:cxn modelId="{DA17BFDF-1BAE-4589-A110-04CDF6216521}" srcId="{7BC353A9-2E9A-4B42-B9DF-3904A72B6A0E}" destId="{BD9A19A4-6825-4DC0-831B-15917C20289B}" srcOrd="1" destOrd="0" parTransId="{2EDCDEE0-A68F-4386-87E1-E4534C2E8039}" sibTransId="{183499B2-0E57-43A1-AF28-BB558198D14B}"/>
    <dgm:cxn modelId="{75A5F3E4-0FDD-47B1-B9FE-A69A3B75B08E}" type="presOf" srcId="{BD9A19A4-6825-4DC0-831B-15917C20289B}" destId="{CC26326F-137F-4CA9-B450-D41AB8FFAD98}" srcOrd="0" destOrd="1" presId="urn:microsoft.com/office/officeart/2005/8/layout/vList2"/>
    <dgm:cxn modelId="{E7E6C3F5-A5B5-4730-96F5-7FBA34FAA6D2}" type="presOf" srcId="{84F9C0A8-C2D1-4864-85C6-3B384E21C88D}" destId="{BE92AD39-0414-4147-8835-B4B9C1A6BBEB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FE346E93-1CF9-4AA4-AD24-2985D1EA4E60}" type="presParOf" srcId="{C98BB3D8-F1F9-4980-A813-50F0C2AEBD98}" destId="{CC26326F-137F-4CA9-B450-D41AB8FFAD98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D9E4E6E3-82D6-4040-A054-072CEB1EF3E3}" type="presParOf" srcId="{C98BB3D8-F1F9-4980-A813-50F0C2AEBD98}" destId="{1F88332B-1EBF-433B-A49D-5E3D9CB91196}" srcOrd="3" destOrd="0" presId="urn:microsoft.com/office/officeart/2005/8/layout/vList2"/>
    <dgm:cxn modelId="{AFE372D8-9338-4E43-BD02-78877E84AB77}" type="presParOf" srcId="{C98BB3D8-F1F9-4980-A813-50F0C2AEBD98}" destId="{BE92AD39-0414-4147-8835-B4B9C1A6BBEB}" srcOrd="4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C0E80275-1241-478B-859F-87232F390F32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DNA</a:t>
          </a:r>
          <a:endParaRPr lang="en-US" dirty="0"/>
        </a:p>
      </dgm:t>
    </dgm:pt>
    <dgm:pt modelId="{30F66B82-79B9-44B4-80F9-7EA269B3AFB6}" type="parTrans" cxnId="{D07B2313-5C76-40D1-8E74-665E8F2076D4}">
      <dgm:prSet/>
      <dgm:spPr/>
      <dgm:t>
        <a:bodyPr/>
        <a:lstStyle/>
        <a:p>
          <a:endParaRPr lang="fi-FI"/>
        </a:p>
      </dgm:t>
    </dgm:pt>
    <dgm:pt modelId="{B2527DC5-7081-4542-9B80-F76A3394597B}" type="sibTrans" cxnId="{D07B2313-5C76-40D1-8E74-665E8F2076D4}">
      <dgm:prSet/>
      <dgm:spPr/>
      <dgm:t>
        <a:bodyPr/>
        <a:lstStyle/>
        <a:p>
          <a:endParaRPr lang="fi-FI"/>
        </a:p>
      </dgm:t>
    </dgm:pt>
    <dgm:pt modelId="{EFEC5B66-5248-4212-A4B3-3491AFDAC08F}">
      <dgm:prSet/>
      <dgm:spPr/>
      <dgm:t>
        <a:bodyPr/>
        <a:lstStyle/>
        <a:p>
          <a:r>
            <a:rPr lang="fi-FI" dirty="0"/>
            <a:t>kaksi juostetta</a:t>
          </a:r>
          <a:endParaRPr lang="en-US" dirty="0">
            <a:ea typeface="+mn-lt"/>
            <a:cs typeface="+mn-lt"/>
          </a:endParaRPr>
        </a:p>
      </dgm:t>
    </dgm:pt>
    <dgm:pt modelId="{6A5F913D-6C74-4918-93F4-355AB603F6F8}" type="parTrans" cxnId="{A922E607-06C0-4BF4-92E9-3E935AA501E7}">
      <dgm:prSet/>
      <dgm:spPr/>
      <dgm:t>
        <a:bodyPr/>
        <a:lstStyle/>
        <a:p>
          <a:endParaRPr lang="fi-FI"/>
        </a:p>
      </dgm:t>
    </dgm:pt>
    <dgm:pt modelId="{C6656C14-B0EB-4BCC-A24C-4DB8B7BBB543}" type="sibTrans" cxnId="{A922E607-06C0-4BF4-92E9-3E935AA501E7}">
      <dgm:prSet/>
      <dgm:spPr/>
      <dgm:t>
        <a:bodyPr/>
        <a:lstStyle/>
        <a:p>
          <a:endParaRPr lang="fi-FI"/>
        </a:p>
      </dgm:t>
    </dgm:pt>
    <dgm:pt modelId="{EAC99D67-7A81-4847-9A27-23860E4E15CA}">
      <dgm:prSet/>
      <dgm:spPr/>
      <dgm:t>
        <a:bodyPr/>
        <a:lstStyle/>
        <a:p>
          <a:r>
            <a:rPr lang="fi-FI" dirty="0"/>
            <a:t>emäkset:</a:t>
          </a:r>
          <a:br>
            <a:rPr lang="fi-FI" dirty="0"/>
          </a:br>
          <a:r>
            <a:rPr lang="fi-FI" dirty="0"/>
            <a:t>A, G, C, T</a:t>
          </a:r>
        </a:p>
      </dgm:t>
    </dgm:pt>
    <dgm:pt modelId="{829A9ED4-91B2-452E-B576-718F7CABAFD1}" type="parTrans" cxnId="{B6460E0E-BD75-46BA-975D-831DB3755CC7}">
      <dgm:prSet/>
      <dgm:spPr/>
      <dgm:t>
        <a:bodyPr/>
        <a:lstStyle/>
        <a:p>
          <a:endParaRPr lang="fi-FI"/>
        </a:p>
      </dgm:t>
    </dgm:pt>
    <dgm:pt modelId="{3F730E85-A76C-403D-A790-C636E82E8651}" type="sibTrans" cxnId="{B6460E0E-BD75-46BA-975D-831DB3755CC7}">
      <dgm:prSet/>
      <dgm:spPr/>
      <dgm:t>
        <a:bodyPr/>
        <a:lstStyle/>
        <a:p>
          <a:endParaRPr lang="fi-FI"/>
        </a:p>
      </dgm:t>
    </dgm:pt>
    <dgm:pt modelId="{6DE32DCD-30A7-4B92-9C86-E2B2B1C2184F}">
      <dgm:prSet/>
      <dgm:spPr/>
      <dgm:t>
        <a:bodyPr/>
        <a:lstStyle/>
        <a:p>
          <a:r>
            <a:rPr lang="fi-FI" dirty="0"/>
            <a:t>sokerina </a:t>
          </a:r>
          <a:r>
            <a:rPr lang="fi-FI" dirty="0" err="1"/>
            <a:t>deoksiriboosi</a:t>
          </a:r>
          <a:endParaRPr lang="fi-FI" dirty="0"/>
        </a:p>
      </dgm:t>
    </dgm:pt>
    <dgm:pt modelId="{9D329E6F-DA12-43DD-8F90-198B59B94C1E}" type="parTrans" cxnId="{AC977088-0094-47F4-9F28-3303F3861496}">
      <dgm:prSet/>
      <dgm:spPr/>
      <dgm:t>
        <a:bodyPr/>
        <a:lstStyle/>
        <a:p>
          <a:endParaRPr lang="fi-FI"/>
        </a:p>
      </dgm:t>
    </dgm:pt>
    <dgm:pt modelId="{4B3887AD-83C3-4CFB-A363-54FB30EA470B}" type="sibTrans" cxnId="{AC977088-0094-47F4-9F28-3303F3861496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2DFF592F-B2CB-409B-B1AD-DC937C48A185}" type="pres">
      <dgm:prSet presAssocID="{C0E80275-1241-478B-859F-87232F390F32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54447777-4170-4179-BE98-9A02927BC225}" type="pres">
      <dgm:prSet presAssocID="{C0E80275-1241-478B-859F-87232F390F32}" presName="childText" presStyleLbl="revTx" presStyleIdx="0" presStyleCnt="1" custScaleY="127524">
        <dgm:presLayoutVars>
          <dgm:bulletEnabled val="1"/>
        </dgm:presLayoutVars>
      </dgm:prSet>
      <dgm:spPr/>
    </dgm:pt>
  </dgm:ptLst>
  <dgm:cxnLst>
    <dgm:cxn modelId="{A922E607-06C0-4BF4-92E9-3E935AA501E7}" srcId="{C0E80275-1241-478B-859F-87232F390F32}" destId="{EFEC5B66-5248-4212-A4B3-3491AFDAC08F}" srcOrd="0" destOrd="0" parTransId="{6A5F913D-6C74-4918-93F4-355AB603F6F8}" sibTransId="{C6656C14-B0EB-4BCC-A24C-4DB8B7BBB543}"/>
    <dgm:cxn modelId="{B6460E0E-BD75-46BA-975D-831DB3755CC7}" srcId="{C0E80275-1241-478B-859F-87232F390F32}" destId="{EAC99D67-7A81-4847-9A27-23860E4E15CA}" srcOrd="1" destOrd="0" parTransId="{829A9ED4-91B2-452E-B576-718F7CABAFD1}" sibTransId="{3F730E85-A76C-403D-A790-C636E82E8651}"/>
    <dgm:cxn modelId="{D07B2313-5C76-40D1-8E74-665E8F2076D4}" srcId="{005063B7-85D1-441D-87C6-864638207FCC}" destId="{C0E80275-1241-478B-859F-87232F390F32}" srcOrd="0" destOrd="0" parTransId="{30F66B82-79B9-44B4-80F9-7EA269B3AFB6}" sibTransId="{B2527DC5-7081-4542-9B80-F76A3394597B}"/>
    <dgm:cxn modelId="{803E5234-684D-4A7F-B848-F0C72392B5EF}" type="presOf" srcId="{EFEC5B66-5248-4212-A4B3-3491AFDAC08F}" destId="{54447777-4170-4179-BE98-9A02927BC225}" srcOrd="0" destOrd="0" presId="urn:microsoft.com/office/officeart/2005/8/layout/vList2"/>
    <dgm:cxn modelId="{BB677840-C181-4B97-8982-77B95D129FBC}" type="presOf" srcId="{C0E80275-1241-478B-859F-87232F390F32}" destId="{2DFF592F-B2CB-409B-B1AD-DC937C48A185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93178B4F-B5C3-4B33-9AE9-CFC7C815E9D4}" type="presOf" srcId="{EAC99D67-7A81-4847-9A27-23860E4E15CA}" destId="{54447777-4170-4179-BE98-9A02927BC225}" srcOrd="0" destOrd="1" presId="urn:microsoft.com/office/officeart/2005/8/layout/vList2"/>
    <dgm:cxn modelId="{AC977088-0094-47F4-9F28-3303F3861496}" srcId="{C0E80275-1241-478B-859F-87232F390F32}" destId="{6DE32DCD-30A7-4B92-9C86-E2B2B1C2184F}" srcOrd="2" destOrd="0" parTransId="{9D329E6F-DA12-43DD-8F90-198B59B94C1E}" sibTransId="{4B3887AD-83C3-4CFB-A363-54FB30EA470B}"/>
    <dgm:cxn modelId="{329350B3-6578-429D-B01F-600542E9A155}" type="presOf" srcId="{6DE32DCD-30A7-4B92-9C86-E2B2B1C2184F}" destId="{54447777-4170-4179-BE98-9A02927BC225}" srcOrd="0" destOrd="2" presId="urn:microsoft.com/office/officeart/2005/8/layout/vList2"/>
    <dgm:cxn modelId="{CE2C273E-0F77-41C7-8305-5C938A0FBBD2}" type="presParOf" srcId="{C98BB3D8-F1F9-4980-A813-50F0C2AEBD98}" destId="{2DFF592F-B2CB-409B-B1AD-DC937C48A185}" srcOrd="0" destOrd="0" presId="urn:microsoft.com/office/officeart/2005/8/layout/vList2"/>
    <dgm:cxn modelId="{3509B8A4-FC8B-4308-8FE1-E8B90995F5CF}" type="presParOf" srcId="{C98BB3D8-F1F9-4980-A813-50F0C2AEBD98}" destId="{54447777-4170-4179-BE98-9A02927BC225}" srcOrd="1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C0E80275-1241-478B-859F-87232F390F32}">
      <dgm:prSet/>
      <dgm:spPr>
        <a:solidFill>
          <a:srgbClr val="F27CB1"/>
        </a:solidFill>
      </dgm:spPr>
      <dgm:t>
        <a:bodyPr/>
        <a:lstStyle/>
        <a:p>
          <a:r>
            <a:rPr lang="en-US" dirty="0"/>
            <a:t>RNA</a:t>
          </a:r>
        </a:p>
      </dgm:t>
    </dgm:pt>
    <dgm:pt modelId="{30F66B82-79B9-44B4-80F9-7EA269B3AFB6}" type="parTrans" cxnId="{D07B2313-5C76-40D1-8E74-665E8F2076D4}">
      <dgm:prSet/>
      <dgm:spPr/>
      <dgm:t>
        <a:bodyPr/>
        <a:lstStyle/>
        <a:p>
          <a:endParaRPr lang="fi-FI"/>
        </a:p>
      </dgm:t>
    </dgm:pt>
    <dgm:pt modelId="{B2527DC5-7081-4542-9B80-F76A3394597B}" type="sibTrans" cxnId="{D07B2313-5C76-40D1-8E74-665E8F2076D4}">
      <dgm:prSet/>
      <dgm:spPr/>
      <dgm:t>
        <a:bodyPr/>
        <a:lstStyle/>
        <a:p>
          <a:endParaRPr lang="fi-FI"/>
        </a:p>
      </dgm:t>
    </dgm:pt>
    <dgm:pt modelId="{EFEC5B66-5248-4212-A4B3-3491AFDAC08F}">
      <dgm:prSet/>
      <dgm:spPr/>
      <dgm:t>
        <a:bodyPr/>
        <a:lstStyle/>
        <a:p>
          <a:r>
            <a:rPr lang="fi-FI" dirty="0"/>
            <a:t>yksi juoste</a:t>
          </a:r>
          <a:endParaRPr lang="en-US" dirty="0">
            <a:ea typeface="+mn-lt"/>
            <a:cs typeface="+mn-lt"/>
          </a:endParaRPr>
        </a:p>
      </dgm:t>
    </dgm:pt>
    <dgm:pt modelId="{6A5F913D-6C74-4918-93F4-355AB603F6F8}" type="parTrans" cxnId="{A922E607-06C0-4BF4-92E9-3E935AA501E7}">
      <dgm:prSet/>
      <dgm:spPr/>
      <dgm:t>
        <a:bodyPr/>
        <a:lstStyle/>
        <a:p>
          <a:endParaRPr lang="fi-FI"/>
        </a:p>
      </dgm:t>
    </dgm:pt>
    <dgm:pt modelId="{C6656C14-B0EB-4BCC-A24C-4DB8B7BBB543}" type="sibTrans" cxnId="{A922E607-06C0-4BF4-92E9-3E935AA501E7}">
      <dgm:prSet/>
      <dgm:spPr/>
      <dgm:t>
        <a:bodyPr/>
        <a:lstStyle/>
        <a:p>
          <a:endParaRPr lang="fi-FI"/>
        </a:p>
      </dgm:t>
    </dgm:pt>
    <dgm:pt modelId="{1995DC11-836B-4747-BD36-626D315B6F83}">
      <dgm:prSet/>
      <dgm:spPr/>
      <dgm:t>
        <a:bodyPr/>
        <a:lstStyle/>
        <a:p>
          <a:r>
            <a:rPr lang="fi-FI" dirty="0"/>
            <a:t>emäkset:</a:t>
          </a:r>
          <a:br>
            <a:rPr lang="fi-FI" dirty="0"/>
          </a:br>
          <a:r>
            <a:rPr lang="fi-FI" dirty="0"/>
            <a:t>A, G, C, U</a:t>
          </a:r>
        </a:p>
      </dgm:t>
    </dgm:pt>
    <dgm:pt modelId="{6143EC5E-896D-4171-AB6D-D2D8264B3B27}" type="parTrans" cxnId="{8F53A77B-F927-4B93-A0DC-D31F18ACFA50}">
      <dgm:prSet/>
      <dgm:spPr/>
      <dgm:t>
        <a:bodyPr/>
        <a:lstStyle/>
        <a:p>
          <a:endParaRPr lang="fi-FI"/>
        </a:p>
      </dgm:t>
    </dgm:pt>
    <dgm:pt modelId="{CC4486B9-C4DD-4FAB-98F6-94798391D5CF}" type="sibTrans" cxnId="{8F53A77B-F927-4B93-A0DC-D31F18ACFA50}">
      <dgm:prSet/>
      <dgm:spPr/>
      <dgm:t>
        <a:bodyPr/>
        <a:lstStyle/>
        <a:p>
          <a:endParaRPr lang="fi-FI"/>
        </a:p>
      </dgm:t>
    </dgm:pt>
    <dgm:pt modelId="{BBC6B80D-A1BB-4A1C-BADE-BD6BEB74E414}">
      <dgm:prSet/>
      <dgm:spPr/>
      <dgm:t>
        <a:bodyPr/>
        <a:lstStyle/>
        <a:p>
          <a:r>
            <a:rPr lang="fi-FI" dirty="0"/>
            <a:t>sokerina </a:t>
          </a:r>
          <a:r>
            <a:rPr lang="fi-FI" dirty="0" err="1"/>
            <a:t>riboosi</a:t>
          </a:r>
          <a:endParaRPr lang="fi-FI" dirty="0"/>
        </a:p>
      </dgm:t>
    </dgm:pt>
    <dgm:pt modelId="{EEEA84BA-AD86-4B7C-BE14-BD049290C919}" type="parTrans" cxnId="{7D0AEA0D-9073-49D5-8178-00570D18340B}">
      <dgm:prSet/>
      <dgm:spPr/>
      <dgm:t>
        <a:bodyPr/>
        <a:lstStyle/>
        <a:p>
          <a:endParaRPr lang="fi-FI"/>
        </a:p>
      </dgm:t>
    </dgm:pt>
    <dgm:pt modelId="{1D939F0E-D39E-4C63-A0F3-C31AB89D6217}" type="sibTrans" cxnId="{7D0AEA0D-9073-49D5-8178-00570D18340B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2DFF592F-B2CB-409B-B1AD-DC937C48A185}" type="pres">
      <dgm:prSet presAssocID="{C0E80275-1241-478B-859F-87232F390F32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54447777-4170-4179-BE98-9A02927BC225}" type="pres">
      <dgm:prSet presAssocID="{C0E80275-1241-478B-859F-87232F390F32}" presName="childText" presStyleLbl="revTx" presStyleIdx="0" presStyleCnt="1" custScaleY="127524">
        <dgm:presLayoutVars>
          <dgm:bulletEnabled val="1"/>
        </dgm:presLayoutVars>
      </dgm:prSet>
      <dgm:spPr/>
    </dgm:pt>
  </dgm:ptLst>
  <dgm:cxnLst>
    <dgm:cxn modelId="{A922E607-06C0-4BF4-92E9-3E935AA501E7}" srcId="{C0E80275-1241-478B-859F-87232F390F32}" destId="{EFEC5B66-5248-4212-A4B3-3491AFDAC08F}" srcOrd="0" destOrd="0" parTransId="{6A5F913D-6C74-4918-93F4-355AB603F6F8}" sibTransId="{C6656C14-B0EB-4BCC-A24C-4DB8B7BBB543}"/>
    <dgm:cxn modelId="{7D0AEA0D-9073-49D5-8178-00570D18340B}" srcId="{C0E80275-1241-478B-859F-87232F390F32}" destId="{BBC6B80D-A1BB-4A1C-BADE-BD6BEB74E414}" srcOrd="2" destOrd="0" parTransId="{EEEA84BA-AD86-4B7C-BE14-BD049290C919}" sibTransId="{1D939F0E-D39E-4C63-A0F3-C31AB89D6217}"/>
    <dgm:cxn modelId="{D07B2313-5C76-40D1-8E74-665E8F2076D4}" srcId="{005063B7-85D1-441D-87C6-864638207FCC}" destId="{C0E80275-1241-478B-859F-87232F390F32}" srcOrd="0" destOrd="0" parTransId="{30F66B82-79B9-44B4-80F9-7EA269B3AFB6}" sibTransId="{B2527DC5-7081-4542-9B80-F76A3394597B}"/>
    <dgm:cxn modelId="{803E5234-684D-4A7F-B848-F0C72392B5EF}" type="presOf" srcId="{EFEC5B66-5248-4212-A4B3-3491AFDAC08F}" destId="{54447777-4170-4179-BE98-9A02927BC225}" srcOrd="0" destOrd="0" presId="urn:microsoft.com/office/officeart/2005/8/layout/vList2"/>
    <dgm:cxn modelId="{BB677840-C181-4B97-8982-77B95D129FBC}" type="presOf" srcId="{C0E80275-1241-478B-859F-87232F390F32}" destId="{2DFF592F-B2CB-409B-B1AD-DC937C48A185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8F53A77B-F927-4B93-A0DC-D31F18ACFA50}" srcId="{C0E80275-1241-478B-859F-87232F390F32}" destId="{1995DC11-836B-4747-BD36-626D315B6F83}" srcOrd="1" destOrd="0" parTransId="{6143EC5E-896D-4171-AB6D-D2D8264B3B27}" sibTransId="{CC4486B9-C4DD-4FAB-98F6-94798391D5CF}"/>
    <dgm:cxn modelId="{8989C09D-C4CE-4DD7-89FC-89422F60CC8A}" type="presOf" srcId="{1995DC11-836B-4747-BD36-626D315B6F83}" destId="{54447777-4170-4179-BE98-9A02927BC225}" srcOrd="0" destOrd="1" presId="urn:microsoft.com/office/officeart/2005/8/layout/vList2"/>
    <dgm:cxn modelId="{21D2A4B0-CB0E-42F5-8B6B-6077639BD55B}" type="presOf" srcId="{BBC6B80D-A1BB-4A1C-BADE-BD6BEB74E414}" destId="{54447777-4170-4179-BE98-9A02927BC225}" srcOrd="0" destOrd="2" presId="urn:microsoft.com/office/officeart/2005/8/layout/vList2"/>
    <dgm:cxn modelId="{CE2C273E-0F77-41C7-8305-5C938A0FBBD2}" type="presParOf" srcId="{C98BB3D8-F1F9-4980-A813-50F0C2AEBD98}" destId="{2DFF592F-B2CB-409B-B1AD-DC937C48A185}" srcOrd="0" destOrd="0" presId="urn:microsoft.com/office/officeart/2005/8/layout/vList2"/>
    <dgm:cxn modelId="{3509B8A4-FC8B-4308-8FE1-E8B90995F5CF}" type="presParOf" srcId="{C98BB3D8-F1F9-4980-A813-50F0C2AEBD98}" destId="{54447777-4170-4179-BE98-9A02927BC225}" srcOrd="1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kaksoiskierre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0143A9C-A93E-4A58-AFBC-90A739431092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emäkset vastinpareittain:</a:t>
          </a:r>
          <a:br>
            <a:rPr lang="fi-FI" dirty="0"/>
          </a:br>
          <a:r>
            <a:rPr lang="fi-FI" dirty="0"/>
            <a:t>A (</a:t>
          </a:r>
          <a:r>
            <a:rPr lang="fi-FI" dirty="0" err="1"/>
            <a:t>adeniini</a:t>
          </a:r>
          <a:r>
            <a:rPr lang="fi-FI" dirty="0"/>
            <a:t>) </a:t>
          </a:r>
          <a:r>
            <a:rPr lang="mr-IN" dirty="0"/>
            <a:t>–</a:t>
          </a:r>
          <a:r>
            <a:rPr lang="fi-FI" dirty="0"/>
            <a:t> T (</a:t>
          </a:r>
          <a:r>
            <a:rPr lang="fi-FI" dirty="0" err="1"/>
            <a:t>tymiini</a:t>
          </a:r>
          <a:r>
            <a:rPr lang="fi-FI" dirty="0"/>
            <a:t>)</a:t>
          </a:r>
          <a:br>
            <a:rPr lang="fi-FI" dirty="0"/>
          </a:br>
          <a:r>
            <a:rPr lang="fi-FI" dirty="0"/>
            <a:t>C (</a:t>
          </a:r>
          <a:r>
            <a:rPr lang="fi-FI" dirty="0" err="1"/>
            <a:t>sytosiini</a:t>
          </a:r>
          <a:r>
            <a:rPr lang="fi-FI" dirty="0"/>
            <a:t>) </a:t>
          </a:r>
          <a:r>
            <a:rPr lang="mr-IN" dirty="0"/>
            <a:t>–</a:t>
          </a:r>
          <a:r>
            <a:rPr lang="fi-FI" dirty="0"/>
            <a:t> G (</a:t>
          </a:r>
          <a:r>
            <a:rPr lang="fi-FI" dirty="0" err="1"/>
            <a:t>guaniini</a:t>
          </a:r>
          <a:r>
            <a:rPr lang="fi-FI" dirty="0"/>
            <a:t>)</a:t>
          </a:r>
          <a:endParaRPr lang="fi-FI" dirty="0">
            <a:cs typeface="Calibri"/>
          </a:endParaRPr>
        </a:p>
      </dgm:t>
    </dgm:pt>
    <dgm:pt modelId="{53F6BFF3-8C57-4675-B98B-28B258048986}" type="sibTrans" cxnId="{589DF472-AF1F-4017-90AF-A00803FF3A6E}">
      <dgm:prSet/>
      <dgm:spPr/>
      <dgm:t>
        <a:bodyPr/>
        <a:lstStyle/>
        <a:p>
          <a:endParaRPr lang="fi-FI"/>
        </a:p>
      </dgm:t>
    </dgm:pt>
    <dgm:pt modelId="{EFA95D88-DD01-4D03-B632-6CD75F8F5C2B}" type="parTrans" cxnId="{589DF472-AF1F-4017-90AF-A00803FF3A6E}">
      <dgm:prSet/>
      <dgm:spPr/>
      <dgm:t>
        <a:bodyPr/>
        <a:lstStyle/>
        <a:p>
          <a:endParaRPr lang="fi-FI"/>
        </a:p>
      </dgm:t>
    </dgm:pt>
    <dgm:pt modelId="{02F9CA18-296F-4E3A-A296-00B3BBB05F66}">
      <dgm:prSet/>
      <dgm:spPr>
        <a:solidFill>
          <a:srgbClr val="F9C3DB"/>
        </a:solidFill>
      </dgm:spPr>
      <dgm:t>
        <a:bodyPr/>
        <a:lstStyle/>
        <a:p>
          <a:r>
            <a:rPr lang="fi-FI"/>
            <a:t>sokeri-fosfaatti silta</a:t>
          </a:r>
          <a:endParaRPr lang="fi-FI" dirty="0">
            <a:cs typeface="Calibri"/>
          </a:endParaRPr>
        </a:p>
      </dgm:t>
    </dgm:pt>
    <dgm:pt modelId="{DDAD9BA8-8EC6-47C9-A5DF-ACEA543D514D}" type="sibTrans" cxnId="{F0DEB38E-A550-4217-88DE-EF52C50A8F2A}">
      <dgm:prSet/>
      <dgm:spPr/>
      <dgm:t>
        <a:bodyPr/>
        <a:lstStyle/>
        <a:p>
          <a:endParaRPr lang="fi-FI"/>
        </a:p>
      </dgm:t>
    </dgm:pt>
    <dgm:pt modelId="{587C98D4-3223-41B3-B230-CEFFBCE31618}" type="parTrans" cxnId="{F0DEB38E-A550-4217-88DE-EF52C50A8F2A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ED6A19B6-0EBC-4392-AF6F-F3CAA63D99E9}" type="pres">
      <dgm:prSet presAssocID="{34A83047-F862-4DFB-A54B-26CD2997000F}" presName="spacer" presStyleCnt="0"/>
      <dgm:spPr/>
    </dgm:pt>
    <dgm:pt modelId="{FB21B429-3EDA-48B0-B368-0FEE346780F1}" type="pres">
      <dgm:prSet presAssocID="{30143A9C-A93E-4A58-AFBC-90A73943109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8B2B1E-600F-4C55-BF59-220DA31C85D3}" type="pres">
      <dgm:prSet presAssocID="{53F6BFF3-8C57-4675-B98B-28B258048986}" presName="spacer" presStyleCnt="0"/>
      <dgm:spPr/>
    </dgm:pt>
    <dgm:pt modelId="{885386F3-C075-41A0-A364-8A99D5D6461C}" type="pres">
      <dgm:prSet presAssocID="{02F9CA18-296F-4E3A-A296-00B3BBB05F66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8283537-EEBE-4B2F-9B78-308414C48AC8}" type="presOf" srcId="{30143A9C-A93E-4A58-AFBC-90A739431092}" destId="{FB21B429-3EDA-48B0-B368-0FEE346780F1}" srcOrd="0" destOrd="0" presId="urn:microsoft.com/office/officeart/2005/8/layout/vList2"/>
    <dgm:cxn modelId="{AD91423D-3DFC-49B4-8171-4F93D6623B2F}" type="presOf" srcId="{02F9CA18-296F-4E3A-A296-00B3BBB05F66}" destId="{885386F3-C075-41A0-A364-8A99D5D6461C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589DF472-AF1F-4017-90AF-A00803FF3A6E}" srcId="{005063B7-85D1-441D-87C6-864638207FCC}" destId="{30143A9C-A93E-4A58-AFBC-90A739431092}" srcOrd="1" destOrd="0" parTransId="{EFA95D88-DD01-4D03-B632-6CD75F8F5C2B}" sibTransId="{53F6BFF3-8C57-4675-B98B-28B258048986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F0DEB38E-A550-4217-88DE-EF52C50A8F2A}" srcId="{005063B7-85D1-441D-87C6-864638207FCC}" destId="{02F9CA18-296F-4E3A-A296-00B3BBB05F66}" srcOrd="2" destOrd="0" parTransId="{587C98D4-3223-41B3-B230-CEFFBCE31618}" sibTransId="{DDAD9BA8-8EC6-47C9-A5DF-ACEA543D514D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DC5ADAB3-BC4D-4BDE-AF12-E0A5549CC1DB}" type="presParOf" srcId="{C98BB3D8-F1F9-4980-A813-50F0C2AEBD98}" destId="{ED6A19B6-0EBC-4392-AF6F-F3CAA63D99E9}" srcOrd="1" destOrd="0" presId="urn:microsoft.com/office/officeart/2005/8/layout/vList2"/>
    <dgm:cxn modelId="{BBB263F7-866D-48A7-832A-5D78EA5E7D0F}" type="presParOf" srcId="{C98BB3D8-F1F9-4980-A813-50F0C2AEBD98}" destId="{FB21B429-3EDA-48B0-B368-0FEE346780F1}" srcOrd="2" destOrd="0" presId="urn:microsoft.com/office/officeart/2005/8/layout/vList2"/>
    <dgm:cxn modelId="{77829148-A14E-44FD-BFC8-76C16C146084}" type="presParOf" srcId="{C98BB3D8-F1F9-4980-A813-50F0C2AEBD98}" destId="{B38B2B1E-600F-4C55-BF59-220DA31C85D3}" srcOrd="3" destOrd="0" presId="urn:microsoft.com/office/officeart/2005/8/layout/vList2"/>
    <dgm:cxn modelId="{A18AA115-FC60-4CE0-9585-3BD0052B176D}" type="presParOf" srcId="{C98BB3D8-F1F9-4980-A813-50F0C2AEBD98}" destId="{885386F3-C075-41A0-A364-8A99D5D6461C}" srcOrd="4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Geeni sisältää tiedon jonkun proteiinin tai RNA-molekyylin rakentamiseksi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E3A88706-D89E-4635-99F4-D8D28A220DED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Kaikki geenit eivät toimi kaikissa soluissa, vaikka kaikissa soluissa on kaikki geenit</a:t>
          </a:r>
        </a:p>
      </dgm:t>
    </dgm:pt>
    <dgm:pt modelId="{4AC40A38-4AFB-4215-9418-C837EF8A3185}" type="parTrans" cxnId="{C4F91F34-73AD-4676-8EC1-6E3E724FBC38}">
      <dgm:prSet/>
      <dgm:spPr/>
      <dgm:t>
        <a:bodyPr/>
        <a:lstStyle/>
        <a:p>
          <a:endParaRPr lang="fi-FI"/>
        </a:p>
      </dgm:t>
    </dgm:pt>
    <dgm:pt modelId="{98C36BAB-F5F5-47E8-90F4-EEC59352ABFB}" type="sibTrans" cxnId="{C4F91F34-73AD-4676-8EC1-6E3E724FBC38}">
      <dgm:prSet/>
      <dgm:spPr/>
      <dgm:t>
        <a:bodyPr/>
        <a:lstStyle/>
        <a:p>
          <a:endParaRPr lang="fi-FI"/>
        </a:p>
      </dgm:t>
    </dgm:pt>
    <dgm:pt modelId="{2D7BB16C-BC6D-4286-B99C-3F0C123F58B4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Suurin osa geeneistä on tuman kromosomeissa</a:t>
          </a:r>
        </a:p>
      </dgm:t>
    </dgm:pt>
    <dgm:pt modelId="{EDA8326A-F039-4D7F-A8CB-7BF0C2CAD1DC}" type="parTrans" cxnId="{3ACB5A3F-8626-4350-8EDD-7C7350D36C2F}">
      <dgm:prSet/>
      <dgm:spPr/>
      <dgm:t>
        <a:bodyPr/>
        <a:lstStyle/>
        <a:p>
          <a:endParaRPr lang="fi-FI"/>
        </a:p>
      </dgm:t>
    </dgm:pt>
    <dgm:pt modelId="{DA17D279-4913-4357-95C4-88026B53977E}" type="sibTrans" cxnId="{3ACB5A3F-8626-4350-8EDD-7C7350D36C2F}">
      <dgm:prSet/>
      <dgm:spPr/>
      <dgm:t>
        <a:bodyPr/>
        <a:lstStyle/>
        <a:p>
          <a:endParaRPr lang="fi-FI"/>
        </a:p>
      </dgm:t>
    </dgm:pt>
    <dgm:pt modelId="{1755895E-4052-4514-A344-8FA224D44565}">
      <dgm:prSet/>
      <dgm:spPr>
        <a:noFill/>
      </dgm:spPr>
      <dgm:t>
        <a:bodyPr/>
        <a:lstStyle/>
        <a:p>
          <a:r>
            <a:rPr lang="fi-FI" dirty="0"/>
            <a:t>myös mitokondrioissa ja viherhiukkasissa on omia geenejä</a:t>
          </a:r>
        </a:p>
      </dgm:t>
    </dgm:pt>
    <dgm:pt modelId="{5F6ED0E3-28AB-4A1F-9C68-D9946F50624C}" type="parTrans" cxnId="{DF802AAA-C702-484C-AB0A-33A726BDEDD7}">
      <dgm:prSet/>
      <dgm:spPr/>
      <dgm:t>
        <a:bodyPr/>
        <a:lstStyle/>
        <a:p>
          <a:endParaRPr lang="fi-FI"/>
        </a:p>
      </dgm:t>
    </dgm:pt>
    <dgm:pt modelId="{A9EA1C37-B820-4392-88D0-F2FD252A4EEC}" type="sibTrans" cxnId="{DF802AAA-C702-484C-AB0A-33A726BDEDD7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C911EB8-A54F-4BAF-B513-CC9DB0CBB497}" type="pres">
      <dgm:prSet presAssocID="{0E1C6016-7DEB-4E2F-9797-C18C672777F4}" presName="spacer" presStyleCnt="0"/>
      <dgm:spPr/>
    </dgm:pt>
    <dgm:pt modelId="{D5E05736-E9B4-4790-9BF3-E3D5EE35FD82}" type="pres">
      <dgm:prSet presAssocID="{E3A88706-D89E-4635-99F4-D8D28A220DE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E301BC63-5CCB-4C61-A565-30FA6666025F}" type="pres">
      <dgm:prSet presAssocID="{98C36BAB-F5F5-47E8-90F4-EEC59352ABFB}" presName="spacer" presStyleCnt="0"/>
      <dgm:spPr/>
    </dgm:pt>
    <dgm:pt modelId="{C3501B98-0BEF-4F4A-80D2-4E00AEFDFBA4}" type="pres">
      <dgm:prSet presAssocID="{2D7BB16C-BC6D-4286-B99C-3F0C123F58B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A824424D-583D-4F22-80B0-B797685BE380}" type="pres">
      <dgm:prSet presAssocID="{2D7BB16C-BC6D-4286-B99C-3F0C123F58B4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C4F91F34-73AD-4676-8EC1-6E3E724FBC38}" srcId="{2DD9BEDF-B9E2-4ABA-A056-FFA32216D3C8}" destId="{E3A88706-D89E-4635-99F4-D8D28A220DED}" srcOrd="1" destOrd="0" parTransId="{4AC40A38-4AFB-4215-9418-C837EF8A3185}" sibTransId="{98C36BAB-F5F5-47E8-90F4-EEC59352ABFB}"/>
    <dgm:cxn modelId="{3ACB5A3F-8626-4350-8EDD-7C7350D36C2F}" srcId="{2DD9BEDF-B9E2-4ABA-A056-FFA32216D3C8}" destId="{2D7BB16C-BC6D-4286-B99C-3F0C123F58B4}" srcOrd="2" destOrd="0" parTransId="{EDA8326A-F039-4D7F-A8CB-7BF0C2CAD1DC}" sibTransId="{DA17D279-4913-4357-95C4-88026B53977E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DF802AAA-C702-484C-AB0A-33A726BDEDD7}" srcId="{2D7BB16C-BC6D-4286-B99C-3F0C123F58B4}" destId="{1755895E-4052-4514-A344-8FA224D44565}" srcOrd="0" destOrd="0" parTransId="{5F6ED0E3-28AB-4A1F-9C68-D9946F50624C}" sibTransId="{A9EA1C37-B820-4392-88D0-F2FD252A4EEC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DDDC87AF-DFEC-4B25-8635-AB4A4454AF0A}" type="presOf" srcId="{2D7BB16C-BC6D-4286-B99C-3F0C123F58B4}" destId="{C3501B98-0BEF-4F4A-80D2-4E00AEFDFBA4}" srcOrd="0" destOrd="0" presId="urn:microsoft.com/office/officeart/2005/8/layout/vList2"/>
    <dgm:cxn modelId="{B7427ABA-1886-4DE9-8D4A-E1BEE69764CC}" type="presOf" srcId="{1755895E-4052-4514-A344-8FA224D44565}" destId="{A824424D-583D-4F22-80B0-B797685BE380}" srcOrd="0" destOrd="0" presId="urn:microsoft.com/office/officeart/2005/8/layout/vList2"/>
    <dgm:cxn modelId="{E27D26C0-CA14-41B8-B58C-67E62212BC77}" type="presOf" srcId="{E3A88706-D89E-4635-99F4-D8D28A220DED}" destId="{D5E05736-E9B4-4790-9BF3-E3D5EE35FD82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D5EEAB7-4530-46A9-BAAF-AABD6ECDFEBC}" type="presParOf" srcId="{2A2F781F-16C1-4D29-B08D-ACB557B90863}" destId="{8C911EB8-A54F-4BAF-B513-CC9DB0CBB497}" srcOrd="1" destOrd="0" presId="urn:microsoft.com/office/officeart/2005/8/layout/vList2"/>
    <dgm:cxn modelId="{FE5DBF94-493B-4B4F-8FA7-17A60FB861B1}" type="presParOf" srcId="{2A2F781F-16C1-4D29-B08D-ACB557B90863}" destId="{D5E05736-E9B4-4790-9BF3-E3D5EE35FD82}" srcOrd="2" destOrd="0" presId="urn:microsoft.com/office/officeart/2005/8/layout/vList2"/>
    <dgm:cxn modelId="{574C4416-BDE3-41DA-9ABE-85AEB7E220EB}" type="presParOf" srcId="{2A2F781F-16C1-4D29-B08D-ACB557B90863}" destId="{E301BC63-5CCB-4C61-A565-30FA6666025F}" srcOrd="3" destOrd="0" presId="urn:microsoft.com/office/officeart/2005/8/layout/vList2"/>
    <dgm:cxn modelId="{16D8871F-3DBC-4FCC-B9EB-7BEBE0B03048}" type="presParOf" srcId="{2A2F781F-16C1-4D29-B08D-ACB557B90863}" destId="{C3501B98-0BEF-4F4A-80D2-4E00AEFDFBA4}" srcOrd="4" destOrd="0" presId="urn:microsoft.com/office/officeart/2005/8/layout/vList2"/>
    <dgm:cxn modelId="{755E95FB-212C-4CCD-814B-59D8750FF736}" type="presParOf" srcId="{2A2F781F-16C1-4D29-B08D-ACB557B90863}" destId="{A824424D-583D-4F22-80B0-B797685BE380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DNA-molekyyli+ </a:t>
          </a:r>
          <a:r>
            <a:rPr lang="fi-FI" dirty="0" err="1">
              <a:cs typeface="Calibri"/>
            </a:rPr>
            <a:t>histoniproteiinit</a:t>
          </a:r>
          <a:r>
            <a:rPr lang="fi-FI" dirty="0">
              <a:cs typeface="Calibri"/>
            </a:rPr>
            <a:t> =</a:t>
          </a:r>
          <a:r>
            <a:rPr lang="fi-FI" dirty="0" err="1">
              <a:cs typeface="Calibri"/>
            </a:rPr>
            <a:t>kromatiini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1" custLinFactNeighborX="-1721" custLinFactNeighborY="-17102">
        <dgm:presLayoutVars>
          <dgm:chMax val="0"/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Kromosomeissa oleva DNA muodostuu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F6615065-2005-41BC-B862-63A034992675}">
      <dgm:prSet/>
      <dgm:spPr>
        <a:solidFill>
          <a:srgbClr val="F27CB1"/>
        </a:solidFill>
      </dgm:spPr>
      <dgm:t>
        <a:bodyPr/>
        <a:lstStyle/>
        <a:p>
          <a:r>
            <a:rPr lang="fi-FI"/>
            <a:t>Geeni muodostuu</a:t>
          </a:r>
          <a:endParaRPr lang="fi-FI" dirty="0"/>
        </a:p>
      </dgm:t>
    </dgm:pt>
    <dgm:pt modelId="{31A3184F-DCD4-41E5-AB4A-25B864992E1E}" type="parTrans" cxnId="{40530598-7ED6-4EFB-BF49-4BF3CAD13924}">
      <dgm:prSet/>
      <dgm:spPr/>
      <dgm:t>
        <a:bodyPr/>
        <a:lstStyle/>
        <a:p>
          <a:endParaRPr lang="fi-FI"/>
        </a:p>
      </dgm:t>
    </dgm:pt>
    <dgm:pt modelId="{FB07C5EA-8A36-46B4-9300-357E9878D430}" type="sibTrans" cxnId="{40530598-7ED6-4EFB-BF49-4BF3CAD13924}">
      <dgm:prSet/>
      <dgm:spPr/>
      <dgm:t>
        <a:bodyPr/>
        <a:lstStyle/>
        <a:p>
          <a:endParaRPr lang="fi-FI"/>
        </a:p>
      </dgm:t>
    </dgm:pt>
    <dgm:pt modelId="{CD8CBA28-2B67-4C47-B70A-FAEF7DCFB767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Geenin koodaava alue muodostuu </a:t>
          </a:r>
          <a:r>
            <a:rPr lang="fi-FI" dirty="0" err="1"/>
            <a:t>eksoneista</a:t>
          </a:r>
          <a:r>
            <a:rPr lang="fi-FI" dirty="0"/>
            <a:t>, jotka sisältävät geneettisen informaation.</a:t>
          </a:r>
          <a:endParaRPr lang="fi-FI" dirty="0">
            <a:cs typeface="Calibri"/>
          </a:endParaRPr>
        </a:p>
      </dgm:t>
    </dgm:pt>
    <dgm:pt modelId="{EA670152-1BC3-4B37-B514-C56CBFADA178}" type="parTrans" cxnId="{DE6579A2-E414-4B3B-828A-4584D06E765E}">
      <dgm:prSet/>
      <dgm:spPr/>
      <dgm:t>
        <a:bodyPr/>
        <a:lstStyle/>
        <a:p>
          <a:endParaRPr lang="fi-FI"/>
        </a:p>
      </dgm:t>
    </dgm:pt>
    <dgm:pt modelId="{3AC1AA47-BD2D-48E5-A5B4-75F05173E06F}" type="sibTrans" cxnId="{DE6579A2-E414-4B3B-828A-4584D06E765E}">
      <dgm:prSet/>
      <dgm:spPr/>
      <dgm:t>
        <a:bodyPr/>
        <a:lstStyle/>
        <a:p>
          <a:endParaRPr lang="fi-FI"/>
        </a:p>
      </dgm:t>
    </dgm:pt>
    <dgm:pt modelId="{83F86E6F-DD87-47BD-B796-84E72C989C25}">
      <dgm:prSet/>
      <dgm:spPr/>
      <dgm:t>
        <a:bodyPr/>
        <a:lstStyle/>
        <a:p>
          <a:r>
            <a:rPr lang="fi-FI"/>
            <a:t>säätelyalueesta ja </a:t>
          </a:r>
          <a:endParaRPr lang="fi-FI" dirty="0"/>
        </a:p>
      </dgm:t>
    </dgm:pt>
    <dgm:pt modelId="{64116702-75D2-435A-8B41-3282CC687556}" type="parTrans" cxnId="{58D893E5-66B0-4EB2-BB78-19F6F5BABEC7}">
      <dgm:prSet/>
      <dgm:spPr/>
      <dgm:t>
        <a:bodyPr/>
        <a:lstStyle/>
        <a:p>
          <a:endParaRPr lang="fi-FI"/>
        </a:p>
      </dgm:t>
    </dgm:pt>
    <dgm:pt modelId="{0F68EDC7-D921-405A-B6C4-EAE33A0268F9}" type="sibTrans" cxnId="{58D893E5-66B0-4EB2-BB78-19F6F5BABEC7}">
      <dgm:prSet/>
      <dgm:spPr/>
      <dgm:t>
        <a:bodyPr/>
        <a:lstStyle/>
        <a:p>
          <a:endParaRPr lang="fi-FI"/>
        </a:p>
      </dgm:t>
    </dgm:pt>
    <dgm:pt modelId="{333AEBB8-BF17-490F-BC4F-904BE433FFDA}">
      <dgm:prSet/>
      <dgm:spPr/>
      <dgm:t>
        <a:bodyPr/>
        <a:lstStyle/>
        <a:p>
          <a:r>
            <a:rPr lang="fi-FI"/>
            <a:t>koodaavasta alueesta</a:t>
          </a:r>
          <a:endParaRPr lang="fi-FI" dirty="0"/>
        </a:p>
      </dgm:t>
    </dgm:pt>
    <dgm:pt modelId="{0738AD36-6046-4D6B-B376-DAE337A4BBDA}" type="parTrans" cxnId="{3796637B-0B01-4FD5-9B53-FBCFBD050217}">
      <dgm:prSet/>
      <dgm:spPr/>
      <dgm:t>
        <a:bodyPr/>
        <a:lstStyle/>
        <a:p>
          <a:endParaRPr lang="fi-FI"/>
        </a:p>
      </dgm:t>
    </dgm:pt>
    <dgm:pt modelId="{6187EDA6-3792-455B-B66E-C9192A4FF18F}" type="sibTrans" cxnId="{3796637B-0B01-4FD5-9B53-FBCFBD050217}">
      <dgm:prSet/>
      <dgm:spPr/>
      <dgm:t>
        <a:bodyPr/>
        <a:lstStyle/>
        <a:p>
          <a:endParaRPr lang="fi-FI"/>
        </a:p>
      </dgm:t>
    </dgm:pt>
    <dgm:pt modelId="{6F44CAB3-58E3-444E-A220-1F9E7B16AD5C}">
      <dgm:prSet/>
      <dgm:spPr/>
      <dgm:t>
        <a:bodyPr/>
        <a:lstStyle/>
        <a:p>
          <a:r>
            <a:rPr lang="fi-FI">
              <a:cs typeface="Calibri"/>
            </a:rPr>
            <a:t>Eksonien välissä introneita, jotka eivät sisällä geneettistä informaatiota</a:t>
          </a:r>
          <a:endParaRPr lang="fi-FI" dirty="0">
            <a:cs typeface="Calibri" panose="020F0502020204030204"/>
          </a:endParaRPr>
        </a:p>
      </dgm:t>
    </dgm:pt>
    <dgm:pt modelId="{763EA483-86C8-4AEC-BBA1-FFCF2BE4EEB4}" type="parTrans" cxnId="{FD752D08-EDC5-4890-B662-C02B7D9A41C5}">
      <dgm:prSet/>
      <dgm:spPr/>
      <dgm:t>
        <a:bodyPr/>
        <a:lstStyle/>
        <a:p>
          <a:endParaRPr lang="fi-FI"/>
        </a:p>
      </dgm:t>
    </dgm:pt>
    <dgm:pt modelId="{7C41EC46-5907-40D9-9A51-B3C51D39707C}" type="sibTrans" cxnId="{FD752D08-EDC5-4890-B662-C02B7D9A41C5}">
      <dgm:prSet/>
      <dgm:spPr/>
      <dgm:t>
        <a:bodyPr/>
        <a:lstStyle/>
        <a:p>
          <a:endParaRPr lang="fi-FI"/>
        </a:p>
      </dgm:t>
    </dgm:pt>
    <dgm:pt modelId="{322E382C-8E73-4804-B77E-12E9C49C0AA7}">
      <dgm:prSet/>
      <dgm:spPr>
        <a:noFill/>
      </dgm:spPr>
      <dgm:t>
        <a:bodyPr/>
        <a:lstStyle/>
        <a:p>
          <a:r>
            <a:rPr lang="fi-FI" dirty="0"/>
            <a:t>geeneistä</a:t>
          </a:r>
        </a:p>
      </dgm:t>
    </dgm:pt>
    <dgm:pt modelId="{2BFD9E6E-DE63-4BE1-A7E1-16E7B4F72835}" type="parTrans" cxnId="{A933F491-8C80-4464-B397-52B5493FB05F}">
      <dgm:prSet/>
      <dgm:spPr/>
      <dgm:t>
        <a:bodyPr/>
        <a:lstStyle/>
        <a:p>
          <a:endParaRPr lang="fi-FI"/>
        </a:p>
      </dgm:t>
    </dgm:pt>
    <dgm:pt modelId="{6E58F4BB-C345-4E9A-BD81-6FFA09E305F1}" type="sibTrans" cxnId="{A933F491-8C80-4464-B397-52B5493FB05F}">
      <dgm:prSet/>
      <dgm:spPr/>
      <dgm:t>
        <a:bodyPr/>
        <a:lstStyle/>
        <a:p>
          <a:endParaRPr lang="fi-FI"/>
        </a:p>
      </dgm:t>
    </dgm:pt>
    <dgm:pt modelId="{CDCB42BF-5533-4851-91F0-A64297A9012D}">
      <dgm:prSet/>
      <dgm:spPr>
        <a:noFill/>
      </dgm:spPr>
      <dgm:t>
        <a:bodyPr/>
        <a:lstStyle/>
        <a:p>
          <a:r>
            <a:rPr lang="fi-FI" dirty="0"/>
            <a:t>geenien ulkopuolisista alueista</a:t>
          </a:r>
        </a:p>
      </dgm:t>
    </dgm:pt>
    <dgm:pt modelId="{6178D5B5-066C-4637-87B5-F122EF22EEC9}" type="parTrans" cxnId="{5813B770-947A-43EA-8E02-525BF89B2D02}">
      <dgm:prSet/>
      <dgm:spPr/>
      <dgm:t>
        <a:bodyPr/>
        <a:lstStyle/>
        <a:p>
          <a:endParaRPr lang="fi-FI"/>
        </a:p>
      </dgm:t>
    </dgm:pt>
    <dgm:pt modelId="{5C26792C-3B02-47AA-BA31-C24FFEA173D4}" type="sibTrans" cxnId="{5813B770-947A-43EA-8E02-525BF89B2D02}">
      <dgm:prSet/>
      <dgm:spPr/>
      <dgm:t>
        <a:bodyPr/>
        <a:lstStyle/>
        <a:p>
          <a:endParaRPr lang="fi-FI"/>
        </a:p>
      </dgm:t>
    </dgm:pt>
    <dgm:pt modelId="{0CE63FDA-8BC0-4628-9747-8BF108996543}" type="pres">
      <dgm:prSet presAssocID="{2DD9BEDF-B9E2-4ABA-A056-FFA32216D3C8}" presName="CompostProcess" presStyleCnt="0">
        <dgm:presLayoutVars>
          <dgm:dir/>
          <dgm:resizeHandles val="exact"/>
        </dgm:presLayoutVars>
      </dgm:prSet>
      <dgm:spPr/>
    </dgm:pt>
    <dgm:pt modelId="{3A009569-039D-43E5-B5B8-8638636076D9}" type="pres">
      <dgm:prSet presAssocID="{2DD9BEDF-B9E2-4ABA-A056-FFA32216D3C8}" presName="arrow" presStyleLbl="bgShp" presStyleIdx="0" presStyleCnt="1"/>
      <dgm:spPr/>
    </dgm:pt>
    <dgm:pt modelId="{D5914F7C-C93B-4B6D-8602-B98BBCD86D0D}" type="pres">
      <dgm:prSet presAssocID="{2DD9BEDF-B9E2-4ABA-A056-FFA32216D3C8}" presName="linearProcess" presStyleCnt="0"/>
      <dgm:spPr/>
    </dgm:pt>
    <dgm:pt modelId="{E6C55CB8-522B-4E66-8ACB-466493A36CBF}" type="pres">
      <dgm:prSet presAssocID="{FDB40630-942D-4475-833B-DC48C1B2AEF9}" presName="textNode" presStyleLbl="node1" presStyleIdx="0" presStyleCnt="3">
        <dgm:presLayoutVars>
          <dgm:bulletEnabled val="1"/>
        </dgm:presLayoutVars>
      </dgm:prSet>
      <dgm:spPr/>
    </dgm:pt>
    <dgm:pt modelId="{40654A47-372E-4A40-B9D4-478E7FA41775}" type="pres">
      <dgm:prSet presAssocID="{0E1C6016-7DEB-4E2F-9797-C18C672777F4}" presName="sibTrans" presStyleCnt="0"/>
      <dgm:spPr/>
    </dgm:pt>
    <dgm:pt modelId="{FC01DFB9-D162-48D8-B297-AB072ECA8DAE}" type="pres">
      <dgm:prSet presAssocID="{F6615065-2005-41BC-B862-63A034992675}" presName="textNode" presStyleLbl="node1" presStyleIdx="1" presStyleCnt="3">
        <dgm:presLayoutVars>
          <dgm:bulletEnabled val="1"/>
        </dgm:presLayoutVars>
      </dgm:prSet>
      <dgm:spPr/>
    </dgm:pt>
    <dgm:pt modelId="{0AFCF1A0-4752-40ED-9D17-618169F9A634}" type="pres">
      <dgm:prSet presAssocID="{FB07C5EA-8A36-46B4-9300-357E9878D430}" presName="sibTrans" presStyleCnt="0"/>
      <dgm:spPr/>
    </dgm:pt>
    <dgm:pt modelId="{4B22EF91-A323-4EC0-A4D3-1DA98427DDF6}" type="pres">
      <dgm:prSet presAssocID="{CD8CBA28-2B67-4C47-B70A-FAEF7DCFB767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FD752D08-EDC5-4890-B662-C02B7D9A41C5}" srcId="{CD8CBA28-2B67-4C47-B70A-FAEF7DCFB767}" destId="{6F44CAB3-58E3-444E-A220-1F9E7B16AD5C}" srcOrd="0" destOrd="0" parTransId="{763EA483-86C8-4AEC-BBA1-FFCF2BE4EEB4}" sibTransId="{7C41EC46-5907-40D9-9A51-B3C51D39707C}"/>
    <dgm:cxn modelId="{7A62DA2D-5082-4D5A-A9C4-FF60269D5F06}" type="presOf" srcId="{F6615065-2005-41BC-B862-63A034992675}" destId="{FC01DFB9-D162-48D8-B297-AB072ECA8DAE}" srcOrd="0" destOrd="0" presId="urn:microsoft.com/office/officeart/2005/8/layout/hProcess9"/>
    <dgm:cxn modelId="{0411306A-33CC-46D5-B861-069F5DA93932}" type="presOf" srcId="{2DD9BEDF-B9E2-4ABA-A056-FFA32216D3C8}" destId="{0CE63FDA-8BC0-4628-9747-8BF108996543}" srcOrd="0" destOrd="0" presId="urn:microsoft.com/office/officeart/2005/8/layout/hProcess9"/>
    <dgm:cxn modelId="{5813B770-947A-43EA-8E02-525BF89B2D02}" srcId="{FDB40630-942D-4475-833B-DC48C1B2AEF9}" destId="{CDCB42BF-5533-4851-91F0-A64297A9012D}" srcOrd="1" destOrd="0" parTransId="{6178D5B5-066C-4637-87B5-F122EF22EEC9}" sibTransId="{5C26792C-3B02-47AA-BA31-C24FFEA173D4}"/>
    <dgm:cxn modelId="{C27D2772-3D04-4E55-9F79-81BF9189946B}" type="presOf" srcId="{333AEBB8-BF17-490F-BC4F-904BE433FFDA}" destId="{FC01DFB9-D162-48D8-B297-AB072ECA8DAE}" srcOrd="0" destOrd="2" presId="urn:microsoft.com/office/officeart/2005/8/layout/hProcess9"/>
    <dgm:cxn modelId="{99725A7A-AFCB-4FEA-9563-FA0BC6C65413}" type="presOf" srcId="{6F44CAB3-58E3-444E-A220-1F9E7B16AD5C}" destId="{4B22EF91-A323-4EC0-A4D3-1DA98427DDF6}" srcOrd="0" destOrd="1" presId="urn:microsoft.com/office/officeart/2005/8/layout/hProcess9"/>
    <dgm:cxn modelId="{3796637B-0B01-4FD5-9B53-FBCFBD050217}" srcId="{F6615065-2005-41BC-B862-63A034992675}" destId="{333AEBB8-BF17-490F-BC4F-904BE433FFDA}" srcOrd="1" destOrd="0" parTransId="{0738AD36-6046-4D6B-B376-DAE337A4BBDA}" sibTransId="{6187EDA6-3792-455B-B66E-C9192A4FF18F}"/>
    <dgm:cxn modelId="{D1C49D83-EE40-44DC-9C62-50E93343EC15}" type="presOf" srcId="{322E382C-8E73-4804-B77E-12E9C49C0AA7}" destId="{E6C55CB8-522B-4E66-8ACB-466493A36CBF}" srcOrd="0" destOrd="1" presId="urn:microsoft.com/office/officeart/2005/8/layout/hProcess9"/>
    <dgm:cxn modelId="{A933F491-8C80-4464-B397-52B5493FB05F}" srcId="{FDB40630-942D-4475-833B-DC48C1B2AEF9}" destId="{322E382C-8E73-4804-B77E-12E9C49C0AA7}" srcOrd="0" destOrd="0" parTransId="{2BFD9E6E-DE63-4BE1-A7E1-16E7B4F72835}" sibTransId="{6E58F4BB-C345-4E9A-BD81-6FFA09E305F1}"/>
    <dgm:cxn modelId="{8316AC95-D3E3-4FA0-8C3A-76CB51DB8087}" type="presOf" srcId="{FDB40630-942D-4475-833B-DC48C1B2AEF9}" destId="{E6C55CB8-522B-4E66-8ACB-466493A36CBF}" srcOrd="0" destOrd="0" presId="urn:microsoft.com/office/officeart/2005/8/layout/hProcess9"/>
    <dgm:cxn modelId="{40530598-7ED6-4EFB-BF49-4BF3CAD13924}" srcId="{2DD9BEDF-B9E2-4ABA-A056-FFA32216D3C8}" destId="{F6615065-2005-41BC-B862-63A034992675}" srcOrd="1" destOrd="0" parTransId="{31A3184F-DCD4-41E5-AB4A-25B864992E1E}" sibTransId="{FB07C5EA-8A36-46B4-9300-357E9878D43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DE6579A2-E414-4B3B-828A-4584D06E765E}" srcId="{2DD9BEDF-B9E2-4ABA-A056-FFA32216D3C8}" destId="{CD8CBA28-2B67-4C47-B70A-FAEF7DCFB767}" srcOrd="2" destOrd="0" parTransId="{EA670152-1BC3-4B37-B514-C56CBFADA178}" sibTransId="{3AC1AA47-BD2D-48E5-A5B4-75F05173E06F}"/>
    <dgm:cxn modelId="{F3D2ECA3-2302-45C0-86EB-CA7C36A5270B}" type="presOf" srcId="{83F86E6F-DD87-47BD-B796-84E72C989C25}" destId="{FC01DFB9-D162-48D8-B297-AB072ECA8DAE}" srcOrd="0" destOrd="1" presId="urn:microsoft.com/office/officeart/2005/8/layout/hProcess9"/>
    <dgm:cxn modelId="{C8378FAD-8F4E-426F-AF12-3F7D46727D11}" type="presOf" srcId="{CDCB42BF-5533-4851-91F0-A64297A9012D}" destId="{E6C55CB8-522B-4E66-8ACB-466493A36CBF}" srcOrd="0" destOrd="2" presId="urn:microsoft.com/office/officeart/2005/8/layout/hProcess9"/>
    <dgm:cxn modelId="{F90AF1CA-F93F-480C-AF44-CEA55698C0D4}" type="presOf" srcId="{CD8CBA28-2B67-4C47-B70A-FAEF7DCFB767}" destId="{4B22EF91-A323-4EC0-A4D3-1DA98427DDF6}" srcOrd="0" destOrd="0" presId="urn:microsoft.com/office/officeart/2005/8/layout/hProcess9"/>
    <dgm:cxn modelId="{58D893E5-66B0-4EB2-BB78-19F6F5BABEC7}" srcId="{F6615065-2005-41BC-B862-63A034992675}" destId="{83F86E6F-DD87-47BD-B796-84E72C989C25}" srcOrd="0" destOrd="0" parTransId="{64116702-75D2-435A-8B41-3282CC687556}" sibTransId="{0F68EDC7-D921-405A-B6C4-EAE33A0268F9}"/>
    <dgm:cxn modelId="{A3DFEA3C-B37F-450B-856A-803D9CA89080}" type="presParOf" srcId="{0CE63FDA-8BC0-4628-9747-8BF108996543}" destId="{3A009569-039D-43E5-B5B8-8638636076D9}" srcOrd="0" destOrd="0" presId="urn:microsoft.com/office/officeart/2005/8/layout/hProcess9"/>
    <dgm:cxn modelId="{FAEA7A2B-AF71-42AD-8B39-65B2CC6AED36}" type="presParOf" srcId="{0CE63FDA-8BC0-4628-9747-8BF108996543}" destId="{D5914F7C-C93B-4B6D-8602-B98BBCD86D0D}" srcOrd="1" destOrd="0" presId="urn:microsoft.com/office/officeart/2005/8/layout/hProcess9"/>
    <dgm:cxn modelId="{CB2DFEEB-FDA0-4D50-BA57-2FC56AC888C2}" type="presParOf" srcId="{D5914F7C-C93B-4B6D-8602-B98BBCD86D0D}" destId="{E6C55CB8-522B-4E66-8ACB-466493A36CBF}" srcOrd="0" destOrd="0" presId="urn:microsoft.com/office/officeart/2005/8/layout/hProcess9"/>
    <dgm:cxn modelId="{88905C7F-75B7-45C0-9603-87AEBBB24F1A}" type="presParOf" srcId="{D5914F7C-C93B-4B6D-8602-B98BBCD86D0D}" destId="{40654A47-372E-4A40-B9D4-478E7FA41775}" srcOrd="1" destOrd="0" presId="urn:microsoft.com/office/officeart/2005/8/layout/hProcess9"/>
    <dgm:cxn modelId="{E86CCB1C-1D4B-4015-8110-B484928C4807}" type="presParOf" srcId="{D5914F7C-C93B-4B6D-8602-B98BBCD86D0D}" destId="{FC01DFB9-D162-48D8-B297-AB072ECA8DAE}" srcOrd="2" destOrd="0" presId="urn:microsoft.com/office/officeart/2005/8/layout/hProcess9"/>
    <dgm:cxn modelId="{53C3BBC6-E031-4F58-A977-3367C9473016}" type="presParOf" srcId="{D5914F7C-C93B-4B6D-8602-B98BBCD86D0D}" destId="{0AFCF1A0-4752-40ED-9D17-618169F9A634}" srcOrd="3" destOrd="0" presId="urn:microsoft.com/office/officeart/2005/8/layout/hProcess9"/>
    <dgm:cxn modelId="{70A940C0-E321-47CA-AC0C-28AE1EA296E7}" type="presParOf" srcId="{D5914F7C-C93B-4B6D-8602-B98BBCD86D0D}" destId="{4B22EF91-A323-4EC0-A4D3-1DA98427DDF6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Geeni sisältää informaation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E3A88706-D89E-4635-99F4-D8D28A220DED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Yksi geenin emäskolmikko vastaa yhtä proteiinin aminohappoa</a:t>
          </a:r>
        </a:p>
      </dgm:t>
    </dgm:pt>
    <dgm:pt modelId="{4AC40A38-4AFB-4215-9418-C837EF8A3185}" type="parTrans" cxnId="{C4F91F34-73AD-4676-8EC1-6E3E724FBC38}">
      <dgm:prSet/>
      <dgm:spPr/>
      <dgm:t>
        <a:bodyPr/>
        <a:lstStyle/>
        <a:p>
          <a:endParaRPr lang="fi-FI"/>
        </a:p>
      </dgm:t>
    </dgm:pt>
    <dgm:pt modelId="{98C36BAB-F5F5-47E8-90F4-EEC59352ABFB}" type="sibTrans" cxnId="{C4F91F34-73AD-4676-8EC1-6E3E724FBC38}">
      <dgm:prSet/>
      <dgm:spPr/>
      <dgm:t>
        <a:bodyPr/>
        <a:lstStyle/>
        <a:p>
          <a:endParaRPr lang="fi-FI"/>
        </a:p>
      </dgm:t>
    </dgm:pt>
    <dgm:pt modelId="{2D7BB16C-BC6D-4286-B99C-3F0C123F58B4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Proteiinin aminohappoketju kootaan aminohappo kerrallaan geenin sisältämän emäsjärjestyksen mukaisesti</a:t>
          </a:r>
        </a:p>
      </dgm:t>
    </dgm:pt>
    <dgm:pt modelId="{EDA8326A-F039-4D7F-A8CB-7BF0C2CAD1DC}" type="parTrans" cxnId="{3ACB5A3F-8626-4350-8EDD-7C7350D36C2F}">
      <dgm:prSet/>
      <dgm:spPr/>
      <dgm:t>
        <a:bodyPr/>
        <a:lstStyle/>
        <a:p>
          <a:endParaRPr lang="fi-FI"/>
        </a:p>
      </dgm:t>
    </dgm:pt>
    <dgm:pt modelId="{DA17D279-4913-4357-95C4-88026B53977E}" type="sibTrans" cxnId="{3ACB5A3F-8626-4350-8EDD-7C7350D36C2F}">
      <dgm:prSet/>
      <dgm:spPr/>
      <dgm:t>
        <a:bodyPr/>
        <a:lstStyle/>
        <a:p>
          <a:endParaRPr lang="fi-FI"/>
        </a:p>
      </dgm:t>
    </dgm:pt>
    <dgm:pt modelId="{AE3D94A2-5A54-4FCA-86C3-41284647F201}">
      <dgm:prSet/>
      <dgm:spPr>
        <a:noFill/>
      </dgm:spPr>
      <dgm:t>
        <a:bodyPr/>
        <a:lstStyle/>
        <a:p>
          <a:r>
            <a:rPr lang="fi-FI" dirty="0"/>
            <a:t>proteiinin sisältämistä aminohapoista ja niiden järjestyksestä</a:t>
          </a:r>
        </a:p>
      </dgm:t>
    </dgm:pt>
    <dgm:pt modelId="{10DA30FA-BB7C-4348-AC53-E73742F9EDE1}" type="parTrans" cxnId="{2E4926F1-950E-48BA-A9A0-99B8506D633A}">
      <dgm:prSet/>
      <dgm:spPr/>
      <dgm:t>
        <a:bodyPr/>
        <a:lstStyle/>
        <a:p>
          <a:endParaRPr lang="fi-FI"/>
        </a:p>
      </dgm:t>
    </dgm:pt>
    <dgm:pt modelId="{C57D24A3-D3B0-41CC-AC6B-C7EFEB73427C}" type="sibTrans" cxnId="{2E4926F1-950E-48BA-A9A0-99B8506D633A}">
      <dgm:prSet/>
      <dgm:spPr/>
      <dgm:t>
        <a:bodyPr/>
        <a:lstStyle/>
        <a:p>
          <a:endParaRPr lang="fi-FI"/>
        </a:p>
      </dgm:t>
    </dgm:pt>
    <dgm:pt modelId="{F9179F3B-3D1A-4233-85EC-1996932CD430}">
      <dgm:prSet/>
      <dgm:spPr>
        <a:noFill/>
      </dgm:spPr>
      <dgm:t>
        <a:bodyPr/>
        <a:lstStyle/>
        <a:p>
          <a:endParaRPr lang="fi-FI" dirty="0"/>
        </a:p>
      </dgm:t>
    </dgm:pt>
    <dgm:pt modelId="{C58FA322-AB8B-40E4-8579-095B762D8E02}" type="parTrans" cxnId="{37CD5120-2EE0-481F-8494-85D3D2214DBA}">
      <dgm:prSet/>
      <dgm:spPr/>
      <dgm:t>
        <a:bodyPr/>
        <a:lstStyle/>
        <a:p>
          <a:endParaRPr lang="fi-FI"/>
        </a:p>
      </dgm:t>
    </dgm:pt>
    <dgm:pt modelId="{106B04D4-540B-45F1-9771-D7C0129B2E11}" type="sibTrans" cxnId="{37CD5120-2EE0-481F-8494-85D3D2214DBA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58A36DD3-6166-4352-BF36-7D9DA39D6D89}" type="pres">
      <dgm:prSet presAssocID="{FDB40630-942D-4475-833B-DC48C1B2AEF9}" presName="childText" presStyleLbl="revTx" presStyleIdx="0" presStyleCnt="1">
        <dgm:presLayoutVars>
          <dgm:bulletEnabled val="1"/>
        </dgm:presLayoutVars>
      </dgm:prSet>
      <dgm:spPr/>
    </dgm:pt>
    <dgm:pt modelId="{D5E05736-E9B4-4790-9BF3-E3D5EE35FD82}" type="pres">
      <dgm:prSet presAssocID="{E3A88706-D89E-4635-99F4-D8D28A220DE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E301BC63-5CCB-4C61-A565-30FA6666025F}" type="pres">
      <dgm:prSet presAssocID="{98C36BAB-F5F5-47E8-90F4-EEC59352ABFB}" presName="spacer" presStyleCnt="0"/>
      <dgm:spPr/>
    </dgm:pt>
    <dgm:pt modelId="{C3501B98-0BEF-4F4A-80D2-4E00AEFDFBA4}" type="pres">
      <dgm:prSet presAssocID="{2D7BB16C-BC6D-4286-B99C-3F0C123F58B4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EFF87B13-8CDF-4299-BAA9-023A933F98B0}" type="presOf" srcId="{AE3D94A2-5A54-4FCA-86C3-41284647F201}" destId="{58A36DD3-6166-4352-BF36-7D9DA39D6D89}" srcOrd="0" destOrd="0" presId="urn:microsoft.com/office/officeart/2005/8/layout/vList2"/>
    <dgm:cxn modelId="{37CD5120-2EE0-481F-8494-85D3D2214DBA}" srcId="{FDB40630-942D-4475-833B-DC48C1B2AEF9}" destId="{F9179F3B-3D1A-4233-85EC-1996932CD430}" srcOrd="1" destOrd="0" parTransId="{C58FA322-AB8B-40E4-8579-095B762D8E02}" sibTransId="{106B04D4-540B-45F1-9771-D7C0129B2E11}"/>
    <dgm:cxn modelId="{C4F91F34-73AD-4676-8EC1-6E3E724FBC38}" srcId="{2DD9BEDF-B9E2-4ABA-A056-FFA32216D3C8}" destId="{E3A88706-D89E-4635-99F4-D8D28A220DED}" srcOrd="1" destOrd="0" parTransId="{4AC40A38-4AFB-4215-9418-C837EF8A3185}" sibTransId="{98C36BAB-F5F5-47E8-90F4-EEC59352ABFB}"/>
    <dgm:cxn modelId="{3ACB5A3F-8626-4350-8EDD-7C7350D36C2F}" srcId="{2DD9BEDF-B9E2-4ABA-A056-FFA32216D3C8}" destId="{2D7BB16C-BC6D-4286-B99C-3F0C123F58B4}" srcOrd="2" destOrd="0" parTransId="{EDA8326A-F039-4D7F-A8CB-7BF0C2CAD1DC}" sibTransId="{DA17D279-4913-4357-95C4-88026B53977E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DDDC87AF-DFEC-4B25-8635-AB4A4454AF0A}" type="presOf" srcId="{2D7BB16C-BC6D-4286-B99C-3F0C123F58B4}" destId="{C3501B98-0BEF-4F4A-80D2-4E00AEFDFBA4}" srcOrd="0" destOrd="0" presId="urn:microsoft.com/office/officeart/2005/8/layout/vList2"/>
    <dgm:cxn modelId="{E27D26C0-CA14-41B8-B58C-67E62212BC77}" type="presOf" srcId="{E3A88706-D89E-4635-99F4-D8D28A220DED}" destId="{D5E05736-E9B4-4790-9BF3-E3D5EE35FD82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2B45CAEA-0041-4295-9BE7-F132806C0720}" type="presOf" srcId="{F9179F3B-3D1A-4233-85EC-1996932CD430}" destId="{58A36DD3-6166-4352-BF36-7D9DA39D6D89}" srcOrd="0" destOrd="1" presId="urn:microsoft.com/office/officeart/2005/8/layout/vList2"/>
    <dgm:cxn modelId="{2E4926F1-950E-48BA-A9A0-99B8506D633A}" srcId="{FDB40630-942D-4475-833B-DC48C1B2AEF9}" destId="{AE3D94A2-5A54-4FCA-86C3-41284647F201}" srcOrd="0" destOrd="0" parTransId="{10DA30FA-BB7C-4348-AC53-E73742F9EDE1}" sibTransId="{C57D24A3-D3B0-41CC-AC6B-C7EFEB73427C}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AD57CD5D-7EC4-4444-8EF9-4900847F9E26}" type="presParOf" srcId="{2A2F781F-16C1-4D29-B08D-ACB557B90863}" destId="{58A36DD3-6166-4352-BF36-7D9DA39D6D89}" srcOrd="1" destOrd="0" presId="urn:microsoft.com/office/officeart/2005/8/layout/vList2"/>
    <dgm:cxn modelId="{FE5DBF94-493B-4B4F-8FA7-17A60FB861B1}" type="presParOf" srcId="{2A2F781F-16C1-4D29-B08D-ACB557B90863}" destId="{D5E05736-E9B4-4790-9BF3-E3D5EE35FD82}" srcOrd="2" destOrd="0" presId="urn:microsoft.com/office/officeart/2005/8/layout/vList2"/>
    <dgm:cxn modelId="{574C4416-BDE3-41DA-9ABE-85AEB7E220EB}" type="presParOf" srcId="{2A2F781F-16C1-4D29-B08D-ACB557B90863}" destId="{E301BC63-5CCB-4C61-A565-30FA6666025F}" srcOrd="3" destOrd="0" presId="urn:microsoft.com/office/officeart/2005/8/layout/vList2"/>
    <dgm:cxn modelId="{16D8871F-3DBC-4FCC-B9EB-7BEBE0B03048}" type="presParOf" srcId="{2A2F781F-16C1-4D29-B08D-ACB557B90863}" destId="{C3501B98-0BEF-4F4A-80D2-4E00AEFDFBA4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DNA:n kaksoiskierre avautuu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RNA-polymeraasi rakentaa DNA:n mallijuosteen avulla esiaste-RNA-molekyylin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FD874A50-C45F-4771-8125-2AFA4C37FBF6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129F96CE-81BC-4B33-8D88-F20F0D6786F7}" type="presParOf" srcId="{C98BB3D8-F1F9-4980-A813-50F0C2AEBD98}" destId="{FD874A50-C45F-4771-8125-2AFA4C37FBF6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638126"/>
          <a:ext cx="10515600" cy="121680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Geeneissä proteiinien rakentamiseksi tarvittava informaatio</a:t>
          </a:r>
        </a:p>
      </dsp:txBody>
      <dsp:txXfrm>
        <a:off x="59399" y="697525"/>
        <a:ext cx="10396802" cy="1098002"/>
      </dsp:txXfrm>
    </dsp:sp>
    <dsp:sp modelId="{528E58FA-D514-4974-95F1-C3A81A6CC8AA}">
      <dsp:nvSpPr>
        <dsp:cNvPr id="0" name=""/>
        <dsp:cNvSpPr/>
      </dsp:nvSpPr>
      <dsp:spPr>
        <a:xfrm>
          <a:off x="0" y="2042127"/>
          <a:ext cx="10515600" cy="121680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Proteiinien kautta geenit ohjaavat solujen toimintaa</a:t>
          </a:r>
          <a:endParaRPr lang="fi-FI" sz="2800" kern="1200" dirty="0">
            <a:cs typeface="Calibri"/>
          </a:endParaRPr>
        </a:p>
      </dsp:txBody>
      <dsp:txXfrm>
        <a:off x="59399" y="2101526"/>
        <a:ext cx="10396802" cy="109800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E8424A-BCEB-4851-8CB6-3C043E67F1D7}">
      <dsp:nvSpPr>
        <dsp:cNvPr id="0" name=""/>
        <dsp:cNvSpPr/>
      </dsp:nvSpPr>
      <dsp:spPr>
        <a:xfrm>
          <a:off x="306753" y="477"/>
          <a:ext cx="2813494" cy="1563052"/>
        </a:xfrm>
        <a:prstGeom prst="roundRect">
          <a:avLst>
            <a:gd name="adj" fmla="val 10000"/>
          </a:avLst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 dirty="0"/>
            <a:t>Esiaste-RNA:ta muokataan: molekyylistä</a:t>
          </a:r>
          <a:r>
            <a:rPr lang="fi-FI" sz="1900" kern="1200" dirty="0">
              <a:ea typeface="+mn-lt"/>
              <a:cs typeface="+mn-lt"/>
            </a:rPr>
            <a:t> mm. silmukoidaan pois </a:t>
          </a:r>
          <a:r>
            <a:rPr lang="fi-FI" sz="1900" kern="1200" dirty="0" err="1">
              <a:ea typeface="+mn-lt"/>
              <a:cs typeface="+mn-lt"/>
            </a:rPr>
            <a:t>intronit</a:t>
          </a:r>
          <a:endParaRPr lang="en-US" sz="1900" kern="1200" dirty="0"/>
        </a:p>
      </dsp:txBody>
      <dsp:txXfrm>
        <a:off x="352533" y="46257"/>
        <a:ext cx="2721934" cy="1471492"/>
      </dsp:txXfrm>
    </dsp:sp>
    <dsp:sp modelId="{D5D8CA9E-C4C9-4A76-B455-85BCEF8013CA}">
      <dsp:nvSpPr>
        <dsp:cNvPr id="0" name=""/>
        <dsp:cNvSpPr/>
      </dsp:nvSpPr>
      <dsp:spPr>
        <a:xfrm rot="5400000">
          <a:off x="1420428" y="1602606"/>
          <a:ext cx="586144" cy="703373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 rot="-5400000">
        <a:off x="1502489" y="1661221"/>
        <a:ext cx="422023" cy="410301"/>
      </dsp:txXfrm>
    </dsp:sp>
    <dsp:sp modelId="{12F4FA3F-614A-4107-8881-5556EA7E14D7}">
      <dsp:nvSpPr>
        <dsp:cNvPr id="0" name=""/>
        <dsp:cNvSpPr/>
      </dsp:nvSpPr>
      <dsp:spPr>
        <a:xfrm>
          <a:off x="306753" y="2345056"/>
          <a:ext cx="2813494" cy="1563052"/>
        </a:xfrm>
        <a:prstGeom prst="roundRect">
          <a:avLst>
            <a:gd name="adj" fmla="val 10000"/>
          </a:avLst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 dirty="0">
              <a:ea typeface="+mn-lt"/>
              <a:cs typeface="+mn-lt"/>
            </a:rPr>
            <a:t>muodostunut lähetti-RNA jatkaa solulimaan</a:t>
          </a:r>
          <a:endParaRPr lang="fi-FI" sz="1900" kern="1200" dirty="0">
            <a:cs typeface="Calibri"/>
          </a:endParaRPr>
        </a:p>
      </dsp:txBody>
      <dsp:txXfrm>
        <a:off x="352533" y="2390836"/>
        <a:ext cx="2721934" cy="147149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54932"/>
          <a:ext cx="3484782" cy="123552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 err="1"/>
            <a:t>siirtäjä-RNA:t</a:t>
          </a:r>
          <a:r>
            <a:rPr lang="fi-FI" sz="1600" kern="1200" dirty="0"/>
            <a:t> tuovat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 err="1"/>
            <a:t>ribosomiin</a:t>
          </a:r>
          <a:r>
            <a:rPr lang="fi-FI" sz="1600" kern="1200" dirty="0"/>
            <a:t> kutakin lähetti-RNA:n emäskolmikkoa vastaavat aminohapot</a:t>
          </a:r>
          <a:endParaRPr lang="en-US" sz="1600" kern="1200" dirty="0"/>
        </a:p>
      </dsp:txBody>
      <dsp:txXfrm>
        <a:off x="60313" y="115245"/>
        <a:ext cx="3364156" cy="1114894"/>
      </dsp:txXfrm>
    </dsp:sp>
    <dsp:sp modelId="{BFD4EF96-1CE6-49E4-A2C5-AD9722D55C76}">
      <dsp:nvSpPr>
        <dsp:cNvPr id="0" name=""/>
        <dsp:cNvSpPr/>
      </dsp:nvSpPr>
      <dsp:spPr>
        <a:xfrm>
          <a:off x="0" y="1336532"/>
          <a:ext cx="3484782" cy="123552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/>
            <a:t>aminohappoketjun rakentaminen alkaa aloituskolmikosta ja päättyy lopetuskolmikkoon</a:t>
          </a:r>
        </a:p>
      </dsp:txBody>
      <dsp:txXfrm>
        <a:off x="60313" y="1396845"/>
        <a:ext cx="3364156" cy="1114894"/>
      </dsp:txXfrm>
    </dsp:sp>
    <dsp:sp modelId="{BE92AD39-0414-4147-8835-B4B9C1A6BBEB}">
      <dsp:nvSpPr>
        <dsp:cNvPr id="0" name=""/>
        <dsp:cNvSpPr/>
      </dsp:nvSpPr>
      <dsp:spPr>
        <a:xfrm>
          <a:off x="0" y="2618133"/>
          <a:ext cx="3484782" cy="123552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1600" kern="1200">
              <a:cs typeface="Calibri" panose="020F0502020204030204"/>
            </a:rPr>
            <a:t>aminohappoketju saa kolmiulotteisen muotonsa</a:t>
          </a:r>
          <a:endParaRPr lang="fi-FI" sz="1600" kern="1200" dirty="0"/>
        </a:p>
      </dsp:txBody>
      <dsp:txXfrm>
        <a:off x="60313" y="2678446"/>
        <a:ext cx="3364156" cy="111489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E8424A-BCEB-4851-8CB6-3C043E67F1D7}">
      <dsp:nvSpPr>
        <dsp:cNvPr id="0" name=""/>
        <dsp:cNvSpPr/>
      </dsp:nvSpPr>
      <dsp:spPr>
        <a:xfrm>
          <a:off x="4628" y="524"/>
          <a:ext cx="3918449" cy="1717676"/>
        </a:xfrm>
        <a:prstGeom prst="roundRect">
          <a:avLst>
            <a:gd name="adj" fmla="val 10000"/>
          </a:avLst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>
              <a:ea typeface="+mn-lt"/>
              <a:cs typeface="+mn-lt"/>
            </a:rPr>
            <a:t>Ulos eritettävät proteiinit, solun omat kalvoproteiinit tai solun kalvorakkuloiden entsyymit valmistetaan karkean solulimakalvoston </a:t>
          </a:r>
          <a:r>
            <a:rPr lang="fi-FI" sz="1400" kern="1200" dirty="0" err="1">
              <a:ea typeface="+mn-lt"/>
              <a:cs typeface="+mn-lt"/>
            </a:rPr>
            <a:t>ribosomeissa</a:t>
          </a:r>
          <a:endParaRPr lang="en-US" sz="1400" kern="1200" dirty="0"/>
        </a:p>
      </dsp:txBody>
      <dsp:txXfrm>
        <a:off x="54937" y="50833"/>
        <a:ext cx="3817831" cy="1617058"/>
      </dsp:txXfrm>
    </dsp:sp>
    <dsp:sp modelId="{D5D8CA9E-C4C9-4A76-B455-85BCEF8013CA}">
      <dsp:nvSpPr>
        <dsp:cNvPr id="0" name=""/>
        <dsp:cNvSpPr/>
      </dsp:nvSpPr>
      <dsp:spPr>
        <a:xfrm rot="5400000">
          <a:off x="1641788" y="1761142"/>
          <a:ext cx="644128" cy="77295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731966" y="1825555"/>
        <a:ext cx="463772" cy="450890"/>
      </dsp:txXfrm>
    </dsp:sp>
    <dsp:sp modelId="{12F4FA3F-614A-4107-8881-5556EA7E14D7}">
      <dsp:nvSpPr>
        <dsp:cNvPr id="0" name=""/>
        <dsp:cNvSpPr/>
      </dsp:nvSpPr>
      <dsp:spPr>
        <a:xfrm>
          <a:off x="4628" y="2577039"/>
          <a:ext cx="3918449" cy="1717676"/>
        </a:xfrm>
        <a:prstGeom prst="roundRect">
          <a:avLst>
            <a:gd name="adj" fmla="val 10000"/>
          </a:avLst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/>
            <a:t>Proteiinien muokkaamista jatketaan </a:t>
          </a:r>
          <a:r>
            <a:rPr lang="fi-FI" sz="1400" kern="1200" dirty="0" err="1"/>
            <a:t>Golgin</a:t>
          </a:r>
          <a:r>
            <a:rPr lang="fi-FI" sz="1400" kern="1200" dirty="0"/>
            <a:t> laitteessa, mistä ne lähetetään kohteeseensa. </a:t>
          </a:r>
          <a:endParaRPr lang="fi-FI" sz="1400" kern="1200" dirty="0">
            <a:cs typeface="Calibri"/>
          </a:endParaRPr>
        </a:p>
      </dsp:txBody>
      <dsp:txXfrm>
        <a:off x="54937" y="2627348"/>
        <a:ext cx="3817831" cy="161705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9476"/>
          <a:ext cx="10515600" cy="12331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100" kern="1200" dirty="0"/>
            <a:t>Suurin osa tumallisen solun geeneistä on inaktiivisia, ne aktivoidaan säätelyproteiinien avulla</a:t>
          </a:r>
        </a:p>
      </dsp:txBody>
      <dsp:txXfrm>
        <a:off x="60199" y="69675"/>
        <a:ext cx="10395202" cy="1112781"/>
      </dsp:txXfrm>
    </dsp:sp>
    <dsp:sp modelId="{D5E05736-E9B4-4790-9BF3-E3D5EE35FD82}">
      <dsp:nvSpPr>
        <dsp:cNvPr id="0" name=""/>
        <dsp:cNvSpPr/>
      </dsp:nvSpPr>
      <dsp:spPr>
        <a:xfrm>
          <a:off x="0" y="1331937"/>
          <a:ext cx="10515600" cy="1233179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100" kern="1200" dirty="0">
              <a:cs typeface="Calibri"/>
            </a:rPr>
            <a:t>Säätelyproteiinit kiinnittyvät geenin säätelyalueen tehostajajaksoihin</a:t>
          </a:r>
          <a:endParaRPr lang="fi-FI" sz="3100" kern="1200" dirty="0"/>
        </a:p>
      </dsp:txBody>
      <dsp:txXfrm>
        <a:off x="60199" y="1392136"/>
        <a:ext cx="10395202" cy="1112781"/>
      </dsp:txXfrm>
    </dsp:sp>
    <dsp:sp modelId="{BD5CC919-C6F7-4354-9D7C-5219A148DB82}">
      <dsp:nvSpPr>
        <dsp:cNvPr id="0" name=""/>
        <dsp:cNvSpPr/>
      </dsp:nvSpPr>
      <dsp:spPr>
        <a:xfrm>
          <a:off x="0" y="2654397"/>
          <a:ext cx="10515600" cy="1233179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100" kern="1200" dirty="0" err="1"/>
            <a:t>Mikro-RNA:llä</a:t>
          </a:r>
          <a:r>
            <a:rPr lang="fi-FI" sz="3100" kern="1200" dirty="0"/>
            <a:t> voidaan keskeyttää proteiinisynteesi</a:t>
          </a:r>
        </a:p>
      </dsp:txBody>
      <dsp:txXfrm>
        <a:off x="60199" y="2714596"/>
        <a:ext cx="10395202" cy="111278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165857"/>
          <a:ext cx="3484782" cy="87516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200" kern="1200" dirty="0"/>
            <a:t>Ympäristöolosuhteet ohjaavat  geenejä</a:t>
          </a:r>
          <a:endParaRPr lang="en-US" sz="2200" kern="1200" dirty="0"/>
        </a:p>
      </dsp:txBody>
      <dsp:txXfrm>
        <a:off x="42722" y="208579"/>
        <a:ext cx="3399338" cy="789716"/>
      </dsp:txXfrm>
    </dsp:sp>
    <dsp:sp modelId="{CC26326F-137F-4CA9-B450-D41AB8FFAD98}">
      <dsp:nvSpPr>
        <dsp:cNvPr id="0" name=""/>
        <dsp:cNvSpPr/>
      </dsp:nvSpPr>
      <dsp:spPr>
        <a:xfrm>
          <a:off x="0" y="1041017"/>
          <a:ext cx="3484782" cy="888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642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700" kern="1200"/>
            <a:t>sammuttamalla niitä</a:t>
          </a:r>
          <a:endParaRPr lang="fi-FI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700" kern="1200" dirty="0"/>
            <a:t>käynnistämällä niitä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700" kern="1200" dirty="0"/>
        </a:p>
      </dsp:txBody>
      <dsp:txXfrm>
        <a:off x="0" y="1041017"/>
        <a:ext cx="3484782" cy="888030"/>
      </dsp:txXfrm>
    </dsp:sp>
    <dsp:sp modelId="{BFD4EF96-1CE6-49E4-A2C5-AD9722D55C76}">
      <dsp:nvSpPr>
        <dsp:cNvPr id="0" name=""/>
        <dsp:cNvSpPr/>
      </dsp:nvSpPr>
      <dsp:spPr>
        <a:xfrm>
          <a:off x="0" y="1929047"/>
          <a:ext cx="3484782" cy="87516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200" kern="1200" dirty="0" err="1"/>
            <a:t>Epigeneettisessä</a:t>
          </a:r>
          <a:r>
            <a:rPr lang="fi-FI" sz="2200" kern="1200" dirty="0"/>
            <a:t> säätelyssä itse geeni ei muutu</a:t>
          </a:r>
        </a:p>
      </dsp:txBody>
      <dsp:txXfrm>
        <a:off x="42722" y="1971769"/>
        <a:ext cx="3399338" cy="789716"/>
      </dsp:txXfrm>
    </dsp:sp>
    <dsp:sp modelId="{BE92AD39-0414-4147-8835-B4B9C1A6BBEB}">
      <dsp:nvSpPr>
        <dsp:cNvPr id="0" name=""/>
        <dsp:cNvSpPr/>
      </dsp:nvSpPr>
      <dsp:spPr>
        <a:xfrm>
          <a:off x="0" y="2867568"/>
          <a:ext cx="3484782" cy="87516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2200" kern="1200" dirty="0" err="1"/>
            <a:t>Epigeneettiset</a:t>
          </a:r>
          <a:r>
            <a:rPr lang="fi-FI" sz="2200" kern="1200" dirty="0"/>
            <a:t> muutokset perimässä voivat periytyä</a:t>
          </a:r>
        </a:p>
      </dsp:txBody>
      <dsp:txXfrm>
        <a:off x="42722" y="2910290"/>
        <a:ext cx="3399338" cy="7897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FF592F-B2CB-409B-B1AD-DC937C48A185}">
      <dsp:nvSpPr>
        <dsp:cNvPr id="0" name=""/>
        <dsp:cNvSpPr/>
      </dsp:nvSpPr>
      <dsp:spPr>
        <a:xfrm>
          <a:off x="0" y="10770"/>
          <a:ext cx="2460464" cy="791505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300" kern="1200" dirty="0">
              <a:ea typeface="+mn-lt"/>
              <a:cs typeface="+mn-lt"/>
            </a:rPr>
            <a:t>DNA</a:t>
          </a:r>
          <a:endParaRPr lang="en-US" sz="3300" kern="1200" dirty="0"/>
        </a:p>
      </dsp:txBody>
      <dsp:txXfrm>
        <a:off x="38638" y="49408"/>
        <a:ext cx="2383188" cy="714229"/>
      </dsp:txXfrm>
    </dsp:sp>
    <dsp:sp modelId="{54447777-4170-4179-BE98-9A02927BC225}">
      <dsp:nvSpPr>
        <dsp:cNvPr id="0" name=""/>
        <dsp:cNvSpPr/>
      </dsp:nvSpPr>
      <dsp:spPr>
        <a:xfrm>
          <a:off x="0" y="802275"/>
          <a:ext cx="2460464" cy="31360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120" tIns="41910" rIns="234696" bIns="4191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600" kern="1200" dirty="0"/>
            <a:t>kaksi juostetta</a:t>
          </a:r>
          <a:endParaRPr lang="en-US" sz="2600" kern="1200" dirty="0">
            <a:ea typeface="+mn-lt"/>
            <a:cs typeface="+mn-lt"/>
          </a:endParaRP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600" kern="1200" dirty="0"/>
            <a:t>emäkset:</a:t>
          </a:r>
          <a:br>
            <a:rPr lang="fi-FI" sz="2600" kern="1200" dirty="0"/>
          </a:br>
          <a:r>
            <a:rPr lang="fi-FI" sz="2600" kern="1200" dirty="0"/>
            <a:t>A, G, C, T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600" kern="1200" dirty="0"/>
            <a:t>sokerina </a:t>
          </a:r>
          <a:r>
            <a:rPr lang="fi-FI" sz="2600" kern="1200" dirty="0" err="1"/>
            <a:t>deoksiriboosi</a:t>
          </a:r>
          <a:endParaRPr lang="fi-FI" sz="2600" kern="1200" dirty="0"/>
        </a:p>
      </dsp:txBody>
      <dsp:txXfrm>
        <a:off x="0" y="802275"/>
        <a:ext cx="2460464" cy="31360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FF592F-B2CB-409B-B1AD-DC937C48A185}">
      <dsp:nvSpPr>
        <dsp:cNvPr id="0" name=""/>
        <dsp:cNvSpPr/>
      </dsp:nvSpPr>
      <dsp:spPr>
        <a:xfrm>
          <a:off x="0" y="17015"/>
          <a:ext cx="1857786" cy="791505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RNA</a:t>
          </a:r>
        </a:p>
      </dsp:txBody>
      <dsp:txXfrm>
        <a:off x="38638" y="55653"/>
        <a:ext cx="1780510" cy="714229"/>
      </dsp:txXfrm>
    </dsp:sp>
    <dsp:sp modelId="{54447777-4170-4179-BE98-9A02927BC225}">
      <dsp:nvSpPr>
        <dsp:cNvPr id="0" name=""/>
        <dsp:cNvSpPr/>
      </dsp:nvSpPr>
      <dsp:spPr>
        <a:xfrm>
          <a:off x="0" y="808520"/>
          <a:ext cx="1857786" cy="31360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985" tIns="41910" rIns="234696" bIns="4191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600" kern="1200" dirty="0"/>
            <a:t>yksi juoste</a:t>
          </a:r>
          <a:endParaRPr lang="en-US" sz="2600" kern="1200" dirty="0">
            <a:ea typeface="+mn-lt"/>
            <a:cs typeface="+mn-lt"/>
          </a:endParaRP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600" kern="1200" dirty="0"/>
            <a:t>emäkset:</a:t>
          </a:r>
          <a:br>
            <a:rPr lang="fi-FI" sz="2600" kern="1200" dirty="0"/>
          </a:br>
          <a:r>
            <a:rPr lang="fi-FI" sz="2600" kern="1200" dirty="0"/>
            <a:t>A, G, C, U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600" kern="1200" dirty="0"/>
            <a:t>sokerina </a:t>
          </a:r>
          <a:r>
            <a:rPr lang="fi-FI" sz="2600" kern="1200" dirty="0" err="1"/>
            <a:t>riboosi</a:t>
          </a:r>
          <a:endParaRPr lang="fi-FI" sz="2600" kern="1200" dirty="0"/>
        </a:p>
      </dsp:txBody>
      <dsp:txXfrm>
        <a:off x="0" y="808520"/>
        <a:ext cx="1857786" cy="313601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5710"/>
          <a:ext cx="2826895" cy="94291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700" kern="1200" dirty="0"/>
            <a:t>kaksoiskierre</a:t>
          </a:r>
          <a:endParaRPr lang="en-US" sz="1700" kern="1200" dirty="0"/>
        </a:p>
      </dsp:txBody>
      <dsp:txXfrm>
        <a:off x="46029" y="51739"/>
        <a:ext cx="2734837" cy="850852"/>
      </dsp:txXfrm>
    </dsp:sp>
    <dsp:sp modelId="{FB21B429-3EDA-48B0-B368-0FEE346780F1}">
      <dsp:nvSpPr>
        <dsp:cNvPr id="0" name=""/>
        <dsp:cNvSpPr/>
      </dsp:nvSpPr>
      <dsp:spPr>
        <a:xfrm>
          <a:off x="0" y="997580"/>
          <a:ext cx="2826895" cy="94291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700" kern="1200" dirty="0"/>
            <a:t>emäkset vastinpareittain:</a:t>
          </a:r>
          <a:br>
            <a:rPr lang="fi-FI" sz="1700" kern="1200" dirty="0"/>
          </a:br>
          <a:r>
            <a:rPr lang="fi-FI" sz="1700" kern="1200" dirty="0"/>
            <a:t>A (</a:t>
          </a:r>
          <a:r>
            <a:rPr lang="fi-FI" sz="1700" kern="1200" dirty="0" err="1"/>
            <a:t>adeniini</a:t>
          </a:r>
          <a:r>
            <a:rPr lang="fi-FI" sz="1700" kern="1200" dirty="0"/>
            <a:t>) </a:t>
          </a:r>
          <a:r>
            <a:rPr lang="mr-IN" sz="1700" kern="1200" dirty="0"/>
            <a:t>–</a:t>
          </a:r>
          <a:r>
            <a:rPr lang="fi-FI" sz="1700" kern="1200" dirty="0"/>
            <a:t> T (</a:t>
          </a:r>
          <a:r>
            <a:rPr lang="fi-FI" sz="1700" kern="1200" dirty="0" err="1"/>
            <a:t>tymiini</a:t>
          </a:r>
          <a:r>
            <a:rPr lang="fi-FI" sz="1700" kern="1200" dirty="0"/>
            <a:t>)</a:t>
          </a:r>
          <a:br>
            <a:rPr lang="fi-FI" sz="1700" kern="1200" dirty="0"/>
          </a:br>
          <a:r>
            <a:rPr lang="fi-FI" sz="1700" kern="1200" dirty="0"/>
            <a:t>C (</a:t>
          </a:r>
          <a:r>
            <a:rPr lang="fi-FI" sz="1700" kern="1200" dirty="0" err="1"/>
            <a:t>sytosiini</a:t>
          </a:r>
          <a:r>
            <a:rPr lang="fi-FI" sz="1700" kern="1200" dirty="0"/>
            <a:t>) </a:t>
          </a:r>
          <a:r>
            <a:rPr lang="mr-IN" sz="1700" kern="1200" dirty="0"/>
            <a:t>–</a:t>
          </a:r>
          <a:r>
            <a:rPr lang="fi-FI" sz="1700" kern="1200" dirty="0"/>
            <a:t> G (</a:t>
          </a:r>
          <a:r>
            <a:rPr lang="fi-FI" sz="1700" kern="1200" dirty="0" err="1"/>
            <a:t>guaniini</a:t>
          </a:r>
          <a:r>
            <a:rPr lang="fi-FI" sz="1700" kern="1200" dirty="0"/>
            <a:t>)</a:t>
          </a:r>
          <a:endParaRPr lang="fi-FI" sz="1700" kern="1200" dirty="0">
            <a:cs typeface="Calibri"/>
          </a:endParaRPr>
        </a:p>
      </dsp:txBody>
      <dsp:txXfrm>
        <a:off x="46029" y="1043609"/>
        <a:ext cx="2734837" cy="850852"/>
      </dsp:txXfrm>
    </dsp:sp>
    <dsp:sp modelId="{885386F3-C075-41A0-A364-8A99D5D6461C}">
      <dsp:nvSpPr>
        <dsp:cNvPr id="0" name=""/>
        <dsp:cNvSpPr/>
      </dsp:nvSpPr>
      <dsp:spPr>
        <a:xfrm>
          <a:off x="0" y="1989451"/>
          <a:ext cx="2826895" cy="94291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700" kern="1200"/>
            <a:t>sokeri-fosfaatti silta</a:t>
          </a:r>
          <a:endParaRPr lang="fi-FI" sz="1700" kern="1200" dirty="0">
            <a:cs typeface="Calibri"/>
          </a:endParaRPr>
        </a:p>
      </dsp:txBody>
      <dsp:txXfrm>
        <a:off x="46029" y="2035480"/>
        <a:ext cx="2734837" cy="85085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36116"/>
          <a:ext cx="10515600" cy="107406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700" kern="1200" dirty="0"/>
            <a:t>Geeni sisältää tiedon jonkun proteiinin tai RNA-molekyylin rakentamiseksi</a:t>
          </a:r>
        </a:p>
      </dsp:txBody>
      <dsp:txXfrm>
        <a:off x="52431" y="88547"/>
        <a:ext cx="10410738" cy="969198"/>
      </dsp:txXfrm>
    </dsp:sp>
    <dsp:sp modelId="{D5E05736-E9B4-4790-9BF3-E3D5EE35FD82}">
      <dsp:nvSpPr>
        <dsp:cNvPr id="0" name=""/>
        <dsp:cNvSpPr/>
      </dsp:nvSpPr>
      <dsp:spPr>
        <a:xfrm>
          <a:off x="0" y="1187937"/>
          <a:ext cx="10515600" cy="1074060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700" kern="1200" dirty="0"/>
            <a:t>Kaikki geenit eivät toimi kaikissa soluissa, vaikka kaikissa soluissa on kaikki geenit</a:t>
          </a:r>
        </a:p>
      </dsp:txBody>
      <dsp:txXfrm>
        <a:off x="52431" y="1240368"/>
        <a:ext cx="10410738" cy="969198"/>
      </dsp:txXfrm>
    </dsp:sp>
    <dsp:sp modelId="{C3501B98-0BEF-4F4A-80D2-4E00AEFDFBA4}">
      <dsp:nvSpPr>
        <dsp:cNvPr id="0" name=""/>
        <dsp:cNvSpPr/>
      </dsp:nvSpPr>
      <dsp:spPr>
        <a:xfrm>
          <a:off x="0" y="2339756"/>
          <a:ext cx="10515600" cy="1074060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700" kern="1200" dirty="0"/>
            <a:t>Suurin osa geeneistä on tuman kromosomeissa</a:t>
          </a:r>
        </a:p>
      </dsp:txBody>
      <dsp:txXfrm>
        <a:off x="52431" y="2392187"/>
        <a:ext cx="10410738" cy="969198"/>
      </dsp:txXfrm>
    </dsp:sp>
    <dsp:sp modelId="{A824424D-583D-4F22-80B0-B797685BE380}">
      <dsp:nvSpPr>
        <dsp:cNvPr id="0" name=""/>
        <dsp:cNvSpPr/>
      </dsp:nvSpPr>
      <dsp:spPr>
        <a:xfrm>
          <a:off x="0" y="3413817"/>
          <a:ext cx="10515600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100" kern="1200" dirty="0"/>
            <a:t>myös mitokondrioissa ja viherhiukkasissa on omia geenejä</a:t>
          </a:r>
        </a:p>
      </dsp:txBody>
      <dsp:txXfrm>
        <a:off x="0" y="3413817"/>
        <a:ext cx="105156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625914"/>
          <a:ext cx="3484782" cy="197964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600" kern="1200" dirty="0">
              <a:cs typeface="Calibri"/>
            </a:rPr>
            <a:t>DNA-molekyyli+ </a:t>
          </a:r>
          <a:r>
            <a:rPr lang="fi-FI" sz="3600" kern="1200" dirty="0" err="1">
              <a:cs typeface="Calibri"/>
            </a:rPr>
            <a:t>histoniproteiinit</a:t>
          </a:r>
          <a:r>
            <a:rPr lang="fi-FI" sz="3600" kern="1200" dirty="0">
              <a:cs typeface="Calibri"/>
            </a:rPr>
            <a:t> =</a:t>
          </a:r>
          <a:r>
            <a:rPr lang="fi-FI" sz="3600" kern="1200" dirty="0" err="1">
              <a:cs typeface="Calibri"/>
            </a:rPr>
            <a:t>kromatiini</a:t>
          </a:r>
          <a:endParaRPr lang="en-US" sz="3600" kern="1200" dirty="0"/>
        </a:p>
      </dsp:txBody>
      <dsp:txXfrm>
        <a:off x="96638" y="722552"/>
        <a:ext cx="3291506" cy="178636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009569-039D-43E5-B5B8-8638636076D9}">
      <dsp:nvSpPr>
        <dsp:cNvPr id="0" name=""/>
        <dsp:cNvSpPr/>
      </dsp:nvSpPr>
      <dsp:spPr>
        <a:xfrm>
          <a:off x="788669" y="0"/>
          <a:ext cx="8938260" cy="389705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C55CB8-522B-4E66-8ACB-466493A36CBF}">
      <dsp:nvSpPr>
        <dsp:cNvPr id="0" name=""/>
        <dsp:cNvSpPr/>
      </dsp:nvSpPr>
      <dsp:spPr>
        <a:xfrm>
          <a:off x="11296" y="1169116"/>
          <a:ext cx="3384708" cy="1558821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700" kern="1200" dirty="0"/>
            <a:t>Kromosomeissa oleva DNA muodostuu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 dirty="0"/>
            <a:t>geeneistä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 dirty="0"/>
            <a:t>geenien ulkopuolisista alueista</a:t>
          </a:r>
        </a:p>
      </dsp:txBody>
      <dsp:txXfrm>
        <a:off x="87391" y="1245211"/>
        <a:ext cx="3232518" cy="1406631"/>
      </dsp:txXfrm>
    </dsp:sp>
    <dsp:sp modelId="{FC01DFB9-D162-48D8-B297-AB072ECA8DAE}">
      <dsp:nvSpPr>
        <dsp:cNvPr id="0" name=""/>
        <dsp:cNvSpPr/>
      </dsp:nvSpPr>
      <dsp:spPr>
        <a:xfrm>
          <a:off x="3565445" y="1169116"/>
          <a:ext cx="3384708" cy="1558821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700" kern="1200"/>
            <a:t>Geeni muodostuu</a:t>
          </a:r>
          <a:endParaRPr lang="fi-FI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säätelyalueesta ja </a:t>
          </a:r>
          <a:endParaRPr lang="fi-FI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koodaavasta alueesta</a:t>
          </a:r>
          <a:endParaRPr lang="fi-FI" sz="1300" kern="1200" dirty="0"/>
        </a:p>
      </dsp:txBody>
      <dsp:txXfrm>
        <a:off x="3641540" y="1245211"/>
        <a:ext cx="3232518" cy="1406631"/>
      </dsp:txXfrm>
    </dsp:sp>
    <dsp:sp modelId="{4B22EF91-A323-4EC0-A4D3-1DA98427DDF6}">
      <dsp:nvSpPr>
        <dsp:cNvPr id="0" name=""/>
        <dsp:cNvSpPr/>
      </dsp:nvSpPr>
      <dsp:spPr>
        <a:xfrm>
          <a:off x="7119595" y="1169116"/>
          <a:ext cx="3384708" cy="1558821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700" kern="1200" dirty="0"/>
            <a:t>Geenin koodaava alue muodostuu </a:t>
          </a:r>
          <a:r>
            <a:rPr lang="fi-FI" sz="1700" kern="1200" dirty="0" err="1"/>
            <a:t>eksoneista</a:t>
          </a:r>
          <a:r>
            <a:rPr lang="fi-FI" sz="1700" kern="1200" dirty="0"/>
            <a:t>, jotka sisältävät geneettisen informaation.</a:t>
          </a:r>
          <a:endParaRPr lang="fi-FI" sz="1700" kern="1200" dirty="0">
            <a:cs typeface="Calibri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>
              <a:cs typeface="Calibri"/>
            </a:rPr>
            <a:t>Eksonien välissä introneita, jotka eivät sisällä geneettistä informaatiota</a:t>
          </a:r>
          <a:endParaRPr lang="fi-FI" sz="1300" kern="1200" dirty="0">
            <a:cs typeface="Calibri" panose="020F0502020204030204"/>
          </a:endParaRPr>
        </a:p>
      </dsp:txBody>
      <dsp:txXfrm>
        <a:off x="7195690" y="1245211"/>
        <a:ext cx="3232518" cy="140663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11975"/>
          <a:ext cx="10515600" cy="1032854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Geeni sisältää informaation</a:t>
          </a:r>
        </a:p>
      </dsp:txBody>
      <dsp:txXfrm>
        <a:off x="50420" y="62395"/>
        <a:ext cx="10414760" cy="932014"/>
      </dsp:txXfrm>
    </dsp:sp>
    <dsp:sp modelId="{58A36DD3-6166-4352-BF36-7D9DA39D6D89}">
      <dsp:nvSpPr>
        <dsp:cNvPr id="0" name=""/>
        <dsp:cNvSpPr/>
      </dsp:nvSpPr>
      <dsp:spPr>
        <a:xfrm>
          <a:off x="0" y="1044829"/>
          <a:ext cx="10515600" cy="6996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proteiinin sisältämistä aminohapoista ja niiden järjestyksestä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2000" kern="1200" dirty="0"/>
        </a:p>
      </dsp:txBody>
      <dsp:txXfrm>
        <a:off x="0" y="1044829"/>
        <a:ext cx="10515600" cy="699660"/>
      </dsp:txXfrm>
    </dsp:sp>
    <dsp:sp modelId="{D5E05736-E9B4-4790-9BF3-E3D5EE35FD82}">
      <dsp:nvSpPr>
        <dsp:cNvPr id="0" name=""/>
        <dsp:cNvSpPr/>
      </dsp:nvSpPr>
      <dsp:spPr>
        <a:xfrm>
          <a:off x="0" y="1744489"/>
          <a:ext cx="10515600" cy="1032854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Yksi geenin emäskolmikko vastaa yhtä proteiinin aminohappoa</a:t>
          </a:r>
        </a:p>
      </dsp:txBody>
      <dsp:txXfrm>
        <a:off x="50420" y="1794909"/>
        <a:ext cx="10414760" cy="932014"/>
      </dsp:txXfrm>
    </dsp:sp>
    <dsp:sp modelId="{C3501B98-0BEF-4F4A-80D2-4E00AEFDFBA4}">
      <dsp:nvSpPr>
        <dsp:cNvPr id="0" name=""/>
        <dsp:cNvSpPr/>
      </dsp:nvSpPr>
      <dsp:spPr>
        <a:xfrm>
          <a:off x="0" y="2852224"/>
          <a:ext cx="10515600" cy="1032854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Proteiinin aminohappoketju kootaan aminohappo kerrallaan geenin sisältämän emäsjärjestyksen mukaisesti</a:t>
          </a:r>
        </a:p>
      </dsp:txBody>
      <dsp:txXfrm>
        <a:off x="50420" y="2902644"/>
        <a:ext cx="10414760" cy="93201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146839"/>
          <a:ext cx="3484782" cy="1771453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DNA:n kaksoiskierre avautuu</a:t>
          </a:r>
          <a:endParaRPr lang="en-US" sz="2500" kern="1200" dirty="0"/>
        </a:p>
      </dsp:txBody>
      <dsp:txXfrm>
        <a:off x="86475" y="233314"/>
        <a:ext cx="3311832" cy="1598503"/>
      </dsp:txXfrm>
    </dsp:sp>
    <dsp:sp modelId="{BFD4EF96-1CE6-49E4-A2C5-AD9722D55C76}">
      <dsp:nvSpPr>
        <dsp:cNvPr id="0" name=""/>
        <dsp:cNvSpPr/>
      </dsp:nvSpPr>
      <dsp:spPr>
        <a:xfrm>
          <a:off x="0" y="1990293"/>
          <a:ext cx="3484782" cy="1771453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RNA-polymeraasi rakentaa DNA:n mallijuosteen avulla esiaste-RNA-molekyylin</a:t>
          </a:r>
        </a:p>
      </dsp:txBody>
      <dsp:txXfrm>
        <a:off x="86475" y="2076768"/>
        <a:ext cx="3311832" cy="15985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2.xml"/><Relationship Id="rId5" Type="http://schemas.openxmlformats.org/officeDocument/2006/relationships/diagramLayout" Target="../diagrams/layout12.xml"/><Relationship Id="rId4" Type="http://schemas.openxmlformats.org/officeDocument/2006/relationships/diagramData" Target="../diagrams/data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3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Layout" Target="../diagrams/layout13.xml"/><Relationship Id="rId5" Type="http://schemas.openxmlformats.org/officeDocument/2006/relationships/diagramData" Target="../diagrams/data13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4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slideLayout" Target="../slideLayouts/slideLayout2.xml"/><Relationship Id="rId16" Type="http://schemas.openxmlformats.org/officeDocument/2006/relationships/diagramColors" Target="../diagrams/colors3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diagramColors" Target="../diagrams/colors2.xml"/><Relationship Id="rId5" Type="http://schemas.openxmlformats.org/officeDocument/2006/relationships/image" Target="../media/image2.png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image" Target="../media/image1.emf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4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7.xml"/><Relationship Id="rId5" Type="http://schemas.openxmlformats.org/officeDocument/2006/relationships/diagramData" Target="../diagrams/data7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8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8.xml"/><Relationship Id="rId5" Type="http://schemas.openxmlformats.org/officeDocument/2006/relationships/diagramData" Target="../diagrams/data8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0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739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7796134" cy="1325563"/>
          </a:xfrm>
        </p:spPr>
        <p:txBody>
          <a:bodyPr vert="horz">
            <a:normAutofit/>
          </a:bodyPr>
          <a:lstStyle/>
          <a:p>
            <a:pPr algn="ctr"/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6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Geenit ohjaavat solujen toiminta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8660423"/>
              </p:ext>
            </p:extLst>
          </p:nvPr>
        </p:nvGraphicFramePr>
        <p:xfrm>
          <a:off x="838200" y="1700754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Ribosomeissa rakennetaan aminohappoketjuja =  translaatio (proteiinisynteesi)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591332" y="1940439"/>
            <a:ext cx="5347257" cy="365729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4891060"/>
              </p:ext>
            </p:extLst>
          </p:nvPr>
        </p:nvGraphicFramePr>
        <p:xfrm>
          <a:off x="862366" y="1940439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443818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Osa proteiineista </a:t>
            </a:r>
            <a:r>
              <a:rPr lang="fi-FI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jatkokäsitellään</a:t>
            </a: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fi-FI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Golgin</a:t>
            </a: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laitteess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385811" y="1522820"/>
            <a:ext cx="3777520" cy="4827107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9" name="Tekstiruutu 5">
            <a:extLst>
              <a:ext uri="{FF2B5EF4-FFF2-40B4-BE49-F238E27FC236}">
                <a16:creationId xmlns:a16="http://schemas.microsoft.com/office/drawing/2014/main" id="{70F72556-3325-4E00-88F9-12228D5B81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26977"/>
              </p:ext>
            </p:extLst>
          </p:nvPr>
        </p:nvGraphicFramePr>
        <p:xfrm>
          <a:off x="1131474" y="1888203"/>
          <a:ext cx="3927706" cy="4295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6562449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9751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235294" cy="1325563"/>
          </a:xfrm>
        </p:spPr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Geenin ilmentymistä säädellään eri tavoin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9766881"/>
              </p:ext>
            </p:extLst>
          </p:nvPr>
        </p:nvGraphicFramePr>
        <p:xfrm>
          <a:off x="838200" y="1825018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6373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Geenien </a:t>
            </a:r>
            <a:r>
              <a:rPr lang="fi-FI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epigeneettinen</a:t>
            </a: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säätely voi  vaikuttaa seuraavissa sukupolviss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591332" y="2186737"/>
            <a:ext cx="5347257" cy="3164702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5992439"/>
              </p:ext>
            </p:extLst>
          </p:nvPr>
        </p:nvGraphicFramePr>
        <p:xfrm>
          <a:off x="862366" y="1940439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8375407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141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cs typeface="Calibri Light"/>
              </a:rPr>
              <a:t>Tiivistelmä</a:t>
            </a:r>
            <a:endParaRPr lang="fi-FI" sz="3600" dirty="0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CE70FE3-38AB-478E-BFA9-690D766290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662" y="1482625"/>
            <a:ext cx="5607338" cy="3892750"/>
          </a:xfrm>
          <a:prstGeom prst="rect">
            <a:avLst/>
          </a:prstGeom>
        </p:spPr>
      </p:pic>
      <p:pic>
        <p:nvPicPr>
          <p:cNvPr id="6" name="Kuva 5">
            <a:extLst>
              <a:ext uri="{FF2B5EF4-FFF2-40B4-BE49-F238E27FC236}">
                <a16:creationId xmlns:a16="http://schemas.microsoft.com/office/drawing/2014/main" id="{0198D3F2-5E1F-4B6B-8595-959A64EC377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4172"/>
          <a:stretch/>
        </p:blipFill>
        <p:spPr>
          <a:xfrm>
            <a:off x="6096000" y="1482625"/>
            <a:ext cx="5683542" cy="3755940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E9614EB4-DBB3-43C9-92A9-53743184788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75551"/>
          <a:stretch/>
        </p:blipFill>
        <p:spPr>
          <a:xfrm>
            <a:off x="488662" y="5539363"/>
            <a:ext cx="5683542" cy="121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515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i 15" hidden="1">
            <a:extLst>
              <a:ext uri="{FF2B5EF4-FFF2-40B4-BE49-F238E27FC236}">
                <a16:creationId xmlns:a16="http://schemas.microsoft.com/office/drawing/2014/main" id="{035D3DAC-5E7C-45AE-8051-9A9C9FC0B5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622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kti 15" hidden="1">
                        <a:extLst>
                          <a:ext uri="{FF2B5EF4-FFF2-40B4-BE49-F238E27FC236}">
                            <a16:creationId xmlns:a16="http://schemas.microsoft.com/office/drawing/2014/main" id="{035D3DAC-5E7C-45AE-8051-9A9C9FC0B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: Pyöristetyt kulmat 5">
            <a:extLst>
              <a:ext uri="{FF2B5EF4-FFF2-40B4-BE49-F238E27FC236}">
                <a16:creationId xmlns:a16="http://schemas.microsoft.com/office/drawing/2014/main" id="{5BE5E135-8E53-44F1-8BD0-8A2FC4BBD8AE}"/>
              </a:ext>
            </a:extLst>
          </p:cNvPr>
          <p:cNvSpPr/>
          <p:nvPr/>
        </p:nvSpPr>
        <p:spPr>
          <a:xfrm>
            <a:off x="113211" y="1567543"/>
            <a:ext cx="5777924" cy="4188823"/>
          </a:xfrm>
          <a:prstGeom prst="roundRect">
            <a:avLst/>
          </a:prstGeom>
          <a:noFill/>
          <a:ln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485931" y="534884"/>
            <a:ext cx="7166548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effectLst/>
                <a:latin typeface="Myriad Pro Semibold"/>
                <a:ea typeface="+mj-ea"/>
                <a:cs typeface="+mj-cs"/>
              </a:rPr>
              <a:t>Soluissa</a:t>
            </a:r>
            <a:r>
              <a:rPr lang="en-US" sz="3600" i="0" kern="1200" dirty="0">
                <a:effectLst/>
                <a:latin typeface="Myriad Pro Semibold"/>
                <a:ea typeface="+mj-ea"/>
                <a:cs typeface="+mj-cs"/>
              </a:rPr>
              <a:t> on </a:t>
            </a:r>
            <a:r>
              <a:rPr lang="en-US" sz="3600" i="0" kern="1200" dirty="0" err="1">
                <a:effectLst/>
                <a:latin typeface="Myriad Pro Semibold"/>
                <a:ea typeface="+mj-ea"/>
                <a:cs typeface="+mj-cs"/>
              </a:rPr>
              <a:t>kahta</a:t>
            </a:r>
            <a:r>
              <a:rPr lang="en-US" sz="3600" i="0" kern="1200" dirty="0"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effectLst/>
                <a:latin typeface="Myriad Pro Semibold"/>
                <a:ea typeface="+mj-ea"/>
                <a:cs typeface="+mj-cs"/>
              </a:rPr>
              <a:t>nukleiinihappoa</a:t>
            </a:r>
            <a:endParaRPr lang="en-US" sz="3600" kern="1200" dirty="0"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pic>
        <p:nvPicPr>
          <p:cNvPr id="2" name="Kuva 1">
            <a:extLst>
              <a:ext uri="{FF2B5EF4-FFF2-40B4-BE49-F238E27FC236}">
                <a16:creationId xmlns:a16="http://schemas.microsoft.com/office/drawing/2014/main" id="{35B374B6-0320-4287-AF0D-58E176047C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75392" y="2576927"/>
            <a:ext cx="3095821" cy="2786737"/>
          </a:xfrm>
          <a:prstGeom prst="rect">
            <a:avLst/>
          </a:prstGeom>
        </p:spPr>
      </p:pic>
      <p:pic>
        <p:nvPicPr>
          <p:cNvPr id="5" name="Kuva 4">
            <a:extLst>
              <a:ext uri="{FF2B5EF4-FFF2-40B4-BE49-F238E27FC236}">
                <a16:creationId xmlns:a16="http://schemas.microsoft.com/office/drawing/2014/main" id="{92FB962E-20E0-4F9C-AF63-7A4BAA1912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2910" y="2577739"/>
            <a:ext cx="1824830" cy="3115676"/>
          </a:xfrm>
          <a:prstGeom prst="rect">
            <a:avLst/>
          </a:prstGeom>
        </p:spPr>
      </p:pic>
      <p:graphicFrame>
        <p:nvGraphicFramePr>
          <p:cNvPr id="7" name="Tekstiruutu 5">
            <a:extLst>
              <a:ext uri="{FF2B5EF4-FFF2-40B4-BE49-F238E27FC236}">
                <a16:creationId xmlns:a16="http://schemas.microsoft.com/office/drawing/2014/main" id="{9005C4AA-F34F-43F1-80F3-88CE320A7A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8188627"/>
              </p:ext>
            </p:extLst>
          </p:nvPr>
        </p:nvGraphicFramePr>
        <p:xfrm>
          <a:off x="432638" y="1945321"/>
          <a:ext cx="2460464" cy="3949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Tekstiruutu 5">
            <a:extLst>
              <a:ext uri="{FF2B5EF4-FFF2-40B4-BE49-F238E27FC236}">
                <a16:creationId xmlns:a16="http://schemas.microsoft.com/office/drawing/2014/main" id="{210563BE-493C-44AB-81AA-6A9B61F6CA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2706284"/>
              </p:ext>
            </p:extLst>
          </p:nvPr>
        </p:nvGraphicFramePr>
        <p:xfrm>
          <a:off x="7162380" y="1945321"/>
          <a:ext cx="1857786" cy="39615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7" name="Suorakulmio: Pyöristetyt kulmat 16">
            <a:extLst>
              <a:ext uri="{FF2B5EF4-FFF2-40B4-BE49-F238E27FC236}">
                <a16:creationId xmlns:a16="http://schemas.microsoft.com/office/drawing/2014/main" id="{C842FE9B-132E-4A32-841E-364A4EDEDC79}"/>
              </a:ext>
            </a:extLst>
          </p:cNvPr>
          <p:cNvSpPr/>
          <p:nvPr/>
        </p:nvSpPr>
        <p:spPr>
          <a:xfrm>
            <a:off x="5981438" y="1567542"/>
            <a:ext cx="5777924" cy="4188823"/>
          </a:xfrm>
          <a:prstGeom prst="roundRect">
            <a:avLst/>
          </a:prstGeom>
          <a:noFill/>
          <a:ln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4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184805"/>
            <a:ext cx="10515600" cy="1505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DNA-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olekyyl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rakenne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21992" y="1522820"/>
            <a:ext cx="10182360" cy="4922949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7" name="Tekstiruutu 5">
            <a:extLst>
              <a:ext uri="{FF2B5EF4-FFF2-40B4-BE49-F238E27FC236}">
                <a16:creationId xmlns:a16="http://schemas.microsoft.com/office/drawing/2014/main" id="{FBA9E111-FC23-4667-85BD-9FA08CEB83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4261122"/>
              </p:ext>
            </p:extLst>
          </p:nvPr>
        </p:nvGraphicFramePr>
        <p:xfrm>
          <a:off x="838200" y="3735123"/>
          <a:ext cx="2826895" cy="2938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594535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69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4850567" cy="1325563"/>
          </a:xfrm>
        </p:spPr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Geeni on jakso DNA:t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04268827"/>
              </p:ext>
            </p:extLst>
          </p:nvPr>
        </p:nvGraphicFramePr>
        <p:xfrm>
          <a:off x="838200" y="1825018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83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93895" y="442751"/>
            <a:ext cx="5239062" cy="629077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6910193"/>
              </p:ext>
            </p:extLst>
          </p:nvPr>
        </p:nvGraphicFramePr>
        <p:xfrm>
          <a:off x="550070" y="1236676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24025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934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Geeni on jakso DNA:t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8868097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50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6726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235294" cy="1325563"/>
          </a:xfrm>
        </p:spPr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Proteiinit rakennetaan geenien sisältämän informaation mukaisesti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7831138"/>
              </p:ext>
            </p:extLst>
          </p:nvPr>
        </p:nvGraphicFramePr>
        <p:xfrm>
          <a:off x="838200" y="1825018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1614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Esiaste-RNA rakennetaan tumassa tapahtuvassa transkriptioss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518022" y="1881568"/>
            <a:ext cx="5485945" cy="365729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7347124"/>
              </p:ext>
            </p:extLst>
          </p:nvPr>
        </p:nvGraphicFramePr>
        <p:xfrm>
          <a:off x="862366" y="1940439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672482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02902" y="809470"/>
            <a:ext cx="5357078" cy="5599736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6943109"/>
              </p:ext>
            </p:extLst>
          </p:nvPr>
        </p:nvGraphicFramePr>
        <p:xfrm>
          <a:off x="643794" y="1369484"/>
          <a:ext cx="3427001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70654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835</TotalTime>
  <Words>343</Words>
  <Application>Microsoft Office PowerPoint</Application>
  <PresentationFormat>Laajakuva</PresentationFormat>
  <Paragraphs>60</Paragraphs>
  <Slides>14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Myriad Pro Semibold</vt:lpstr>
      <vt:lpstr>Office-teema</vt:lpstr>
      <vt:lpstr>think-cell Slide</vt:lpstr>
      <vt:lpstr>6 Geenit ohjaavat solujen toimintaa</vt:lpstr>
      <vt:lpstr>PowerPoint-esitys</vt:lpstr>
      <vt:lpstr>PowerPoint-esitys</vt:lpstr>
      <vt:lpstr>Geeni on jakso DNA:ta</vt:lpstr>
      <vt:lpstr>PowerPoint-esitys</vt:lpstr>
      <vt:lpstr>Geeni on jakso DNA:ta</vt:lpstr>
      <vt:lpstr>Proteiinit rakennetaan geenien sisältämän informaation mukaisesti</vt:lpstr>
      <vt:lpstr>PowerPoint-esitys</vt:lpstr>
      <vt:lpstr>PowerPoint-esitys</vt:lpstr>
      <vt:lpstr>PowerPoint-esitys</vt:lpstr>
      <vt:lpstr>PowerPoint-esitys</vt:lpstr>
      <vt:lpstr>Geenin ilmentymistä säädellään eri tavoin</vt:lpstr>
      <vt:lpstr>PowerPoint-esitys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18:5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